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9" r:id="rId1"/>
    <p:sldMasterId id="2147483959" r:id="rId2"/>
    <p:sldMasterId id="2147483983" r:id="rId3"/>
    <p:sldMasterId id="2147484010" r:id="rId4"/>
  </p:sldMasterIdLst>
  <p:notesMasterIdLst>
    <p:notesMasterId r:id="rId13"/>
  </p:notesMasterIdLst>
  <p:handoutMasterIdLst>
    <p:handoutMasterId r:id="rId14"/>
  </p:handoutMasterIdLst>
  <p:sldIdLst>
    <p:sldId id="887" r:id="rId5"/>
    <p:sldId id="888" r:id="rId6"/>
    <p:sldId id="889" r:id="rId7"/>
    <p:sldId id="890" r:id="rId8"/>
    <p:sldId id="891" r:id="rId9"/>
    <p:sldId id="892" r:id="rId10"/>
    <p:sldId id="894" r:id="rId11"/>
    <p:sldId id="897" r:id="rId12"/>
  </p:sldIdLst>
  <p:sldSz cx="9901238" cy="6840538"/>
  <p:notesSz cx="6797675" cy="9928225"/>
  <p:defaultTextStyle>
    <a:defPPr>
      <a:defRPr lang="ru-RU"/>
    </a:defPPr>
    <a:lvl1pPr marL="0" algn="l" defTabSz="910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5248" algn="l" defTabSz="910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0497" algn="l" defTabSz="910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5747" algn="l" defTabSz="910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0995" algn="l" defTabSz="910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76244" algn="l" defTabSz="910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1493" algn="l" defTabSz="910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86742" algn="l" defTabSz="910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1990" algn="l" defTabSz="910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5">
          <p15:clr>
            <a:srgbClr val="A4A3A4"/>
          </p15:clr>
        </p15:guide>
        <p15:guide id="2" pos="31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Филипович А.В." initials="ФА" lastIdx="0" clrIdx="0">
    <p:extLst>
      <p:ext uri="{19B8F6BF-5375-455C-9EA6-DF929625EA0E}">
        <p15:presenceInfo xmlns:p15="http://schemas.microsoft.com/office/powerpoint/2012/main" userId="S-1-5-21-661746261-1348677824-142223018-10119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C1DAFF"/>
    <a:srgbClr val="FFD9D9"/>
    <a:srgbClr val="D9E8FF"/>
    <a:srgbClr val="FFFF79"/>
    <a:srgbClr val="BEE395"/>
    <a:srgbClr val="C5DBFF"/>
    <a:srgbClr val="FF4F4F"/>
    <a:srgbClr val="FFFF75"/>
    <a:srgbClr val="A5C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8586" autoAdjust="0"/>
  </p:normalViewPr>
  <p:slideViewPr>
    <p:cSldViewPr>
      <p:cViewPr varScale="1">
        <p:scale>
          <a:sx n="118" d="100"/>
          <a:sy n="118" d="100"/>
        </p:scale>
        <p:origin x="1566" y="102"/>
      </p:cViewPr>
      <p:guideLst>
        <p:guide orient="horz" pos="2155"/>
        <p:guide pos="311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>
      <p:cViewPr varScale="1">
        <p:scale>
          <a:sx n="60" d="100"/>
          <a:sy n="60" d="100"/>
        </p:scale>
        <p:origin x="-3250" y="-91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AD4C349-76F8-41AD-8916-F2EA5E120F13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183DEB44-7A13-4588-8D17-269460A6E9F1}">
      <dgm:prSet phldrT="[Текст]"/>
      <dgm:spPr/>
      <dgm:t>
        <a:bodyPr/>
        <a:lstStyle/>
        <a:p>
          <a:r>
            <a:rPr lang="ru-RU" dirty="0" smtClean="0"/>
            <a:t>Основной источник - это кредитная история заемщика. Показатели, которые рассчитывает каждый конкретный Банк, будут разными, но их основной источник один</a:t>
          </a:r>
          <a:endParaRPr lang="ru-RU" dirty="0"/>
        </a:p>
      </dgm:t>
    </dgm:pt>
    <dgm:pt modelId="{525FFABB-AB2A-4A48-8772-6C50DC04A26F}" type="parTrans" cxnId="{010721CC-924E-4905-A245-EA07EC73C08A}">
      <dgm:prSet/>
      <dgm:spPr/>
      <dgm:t>
        <a:bodyPr/>
        <a:lstStyle/>
        <a:p>
          <a:endParaRPr lang="ru-RU"/>
        </a:p>
      </dgm:t>
    </dgm:pt>
    <dgm:pt modelId="{1ADAF578-7C10-46D4-9E48-AEB02026B194}" type="sibTrans" cxnId="{010721CC-924E-4905-A245-EA07EC73C08A}">
      <dgm:prSet/>
      <dgm:spPr/>
      <dgm:t>
        <a:bodyPr/>
        <a:lstStyle/>
        <a:p>
          <a:endParaRPr lang="ru-RU"/>
        </a:p>
      </dgm:t>
    </dgm:pt>
    <dgm:pt modelId="{7AD2DDBF-4832-402E-A661-06C8CB582E55}">
      <dgm:prSet phldrT="[Текст]"/>
      <dgm:spPr/>
      <dgm:t>
        <a:bodyPr/>
        <a:lstStyle/>
        <a:p>
          <a:r>
            <a:rPr lang="ru-RU" dirty="0" smtClean="0"/>
            <a:t>Социально-демографические характеристики, профессия, отрасль, в которой трудоустроен заемщик</a:t>
          </a:r>
          <a:endParaRPr lang="ru-RU" dirty="0"/>
        </a:p>
      </dgm:t>
    </dgm:pt>
    <dgm:pt modelId="{A6A733D9-2B87-4B12-86A8-AE3747450354}" type="parTrans" cxnId="{DBF6AA29-AC7D-4E39-B172-6BD7CDCF3568}">
      <dgm:prSet/>
      <dgm:spPr/>
      <dgm:t>
        <a:bodyPr/>
        <a:lstStyle/>
        <a:p>
          <a:endParaRPr lang="ru-RU"/>
        </a:p>
      </dgm:t>
    </dgm:pt>
    <dgm:pt modelId="{007F52D0-B7A2-4C11-BB6C-2130CCC18E7C}" type="sibTrans" cxnId="{DBF6AA29-AC7D-4E39-B172-6BD7CDCF3568}">
      <dgm:prSet/>
      <dgm:spPr/>
      <dgm:t>
        <a:bodyPr/>
        <a:lstStyle/>
        <a:p>
          <a:endParaRPr lang="ru-RU"/>
        </a:p>
      </dgm:t>
    </dgm:pt>
    <dgm:pt modelId="{F74CED9E-D8A2-4FA6-8830-31547DFDF481}">
      <dgm:prSet phldrT="[Текст]"/>
      <dgm:spPr/>
      <dgm:t>
        <a:bodyPr/>
        <a:lstStyle/>
        <a:p>
          <a:r>
            <a:rPr lang="ru-RU" dirty="0" smtClean="0"/>
            <a:t>Информация о доходах</a:t>
          </a:r>
          <a:endParaRPr lang="ru-RU" dirty="0"/>
        </a:p>
      </dgm:t>
    </dgm:pt>
    <dgm:pt modelId="{EF2C718D-C33F-48D2-9A15-D73FE40055AD}" type="parTrans" cxnId="{1BE89751-936F-4560-827F-66AA742E322D}">
      <dgm:prSet/>
      <dgm:spPr/>
      <dgm:t>
        <a:bodyPr/>
        <a:lstStyle/>
        <a:p>
          <a:endParaRPr lang="ru-RU"/>
        </a:p>
      </dgm:t>
    </dgm:pt>
    <dgm:pt modelId="{9D8ABE47-BF05-40ED-BC46-05FAE7DECE56}" type="sibTrans" cxnId="{1BE89751-936F-4560-827F-66AA742E322D}">
      <dgm:prSet/>
      <dgm:spPr/>
      <dgm:t>
        <a:bodyPr/>
        <a:lstStyle/>
        <a:p>
          <a:endParaRPr lang="ru-RU"/>
        </a:p>
      </dgm:t>
    </dgm:pt>
    <dgm:pt modelId="{2DC73DEF-140C-47DB-8214-C08379A31B6F}" type="pres">
      <dgm:prSet presAssocID="{CAD4C349-76F8-41AD-8916-F2EA5E120F1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961DCC9E-B2DA-4B9F-ADE6-2781F8CF6753}" type="pres">
      <dgm:prSet presAssocID="{CAD4C349-76F8-41AD-8916-F2EA5E120F13}" presName="Name1" presStyleCnt="0"/>
      <dgm:spPr/>
      <dgm:t>
        <a:bodyPr/>
        <a:lstStyle/>
        <a:p>
          <a:endParaRPr lang="ru-RU"/>
        </a:p>
      </dgm:t>
    </dgm:pt>
    <dgm:pt modelId="{E9D3B35A-3DC7-4D1E-BFC5-86881AC2ECF2}" type="pres">
      <dgm:prSet presAssocID="{CAD4C349-76F8-41AD-8916-F2EA5E120F13}" presName="cycle" presStyleCnt="0"/>
      <dgm:spPr/>
      <dgm:t>
        <a:bodyPr/>
        <a:lstStyle/>
        <a:p>
          <a:endParaRPr lang="ru-RU"/>
        </a:p>
      </dgm:t>
    </dgm:pt>
    <dgm:pt modelId="{64849975-F75A-4473-9338-AA1D3D9CD40D}" type="pres">
      <dgm:prSet presAssocID="{CAD4C349-76F8-41AD-8916-F2EA5E120F13}" presName="srcNode" presStyleLbl="node1" presStyleIdx="0" presStyleCnt="3"/>
      <dgm:spPr/>
      <dgm:t>
        <a:bodyPr/>
        <a:lstStyle/>
        <a:p>
          <a:endParaRPr lang="ru-RU"/>
        </a:p>
      </dgm:t>
    </dgm:pt>
    <dgm:pt modelId="{41FF533C-FB1A-4C4B-B6D7-294533AA248C}" type="pres">
      <dgm:prSet presAssocID="{CAD4C349-76F8-41AD-8916-F2EA5E120F13}" presName="conn" presStyleLbl="parChTrans1D2" presStyleIdx="0" presStyleCnt="1"/>
      <dgm:spPr/>
      <dgm:t>
        <a:bodyPr/>
        <a:lstStyle/>
        <a:p>
          <a:endParaRPr lang="ru-RU"/>
        </a:p>
      </dgm:t>
    </dgm:pt>
    <dgm:pt modelId="{44E63F03-06F2-4D6A-BFCC-532AFC0C3E3D}" type="pres">
      <dgm:prSet presAssocID="{CAD4C349-76F8-41AD-8916-F2EA5E120F13}" presName="extraNode" presStyleLbl="node1" presStyleIdx="0" presStyleCnt="3"/>
      <dgm:spPr/>
      <dgm:t>
        <a:bodyPr/>
        <a:lstStyle/>
        <a:p>
          <a:endParaRPr lang="ru-RU"/>
        </a:p>
      </dgm:t>
    </dgm:pt>
    <dgm:pt modelId="{54181BE2-E7C4-4EC5-B772-D3ACE540FEDD}" type="pres">
      <dgm:prSet presAssocID="{CAD4C349-76F8-41AD-8916-F2EA5E120F13}" presName="dstNode" presStyleLbl="node1" presStyleIdx="0" presStyleCnt="3"/>
      <dgm:spPr/>
      <dgm:t>
        <a:bodyPr/>
        <a:lstStyle/>
        <a:p>
          <a:endParaRPr lang="ru-RU"/>
        </a:p>
      </dgm:t>
    </dgm:pt>
    <dgm:pt modelId="{B5728727-6EC7-43D4-8737-7FE0B4B6437D}" type="pres">
      <dgm:prSet presAssocID="{183DEB44-7A13-4588-8D17-269460A6E9F1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4EBDD0-8C27-434B-98A1-263378B51C57}" type="pres">
      <dgm:prSet presAssocID="{183DEB44-7A13-4588-8D17-269460A6E9F1}" presName="accent_1" presStyleCnt="0"/>
      <dgm:spPr/>
      <dgm:t>
        <a:bodyPr/>
        <a:lstStyle/>
        <a:p>
          <a:endParaRPr lang="ru-RU"/>
        </a:p>
      </dgm:t>
    </dgm:pt>
    <dgm:pt modelId="{4FCABEF0-6FB9-45C0-9D7A-176CF46447E4}" type="pres">
      <dgm:prSet presAssocID="{183DEB44-7A13-4588-8D17-269460A6E9F1}" presName="accentRepeatNode" presStyleLbl="solidFgAcc1" presStyleIdx="0" presStyleCnt="3"/>
      <dgm:spPr/>
      <dgm:t>
        <a:bodyPr/>
        <a:lstStyle/>
        <a:p>
          <a:endParaRPr lang="ru-RU"/>
        </a:p>
      </dgm:t>
    </dgm:pt>
    <dgm:pt modelId="{CAA4A111-DE84-44FC-A3BE-D513245A25C0}" type="pres">
      <dgm:prSet presAssocID="{7AD2DDBF-4832-402E-A661-06C8CB582E55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8261AA-0408-432E-A7B4-658B81EBB059}" type="pres">
      <dgm:prSet presAssocID="{7AD2DDBF-4832-402E-A661-06C8CB582E55}" presName="accent_2" presStyleCnt="0"/>
      <dgm:spPr/>
      <dgm:t>
        <a:bodyPr/>
        <a:lstStyle/>
        <a:p>
          <a:endParaRPr lang="ru-RU"/>
        </a:p>
      </dgm:t>
    </dgm:pt>
    <dgm:pt modelId="{1D34F387-6F49-4B57-B20B-7DCAE0BD0A38}" type="pres">
      <dgm:prSet presAssocID="{7AD2DDBF-4832-402E-A661-06C8CB582E55}" presName="accentRepeatNode" presStyleLbl="solidFgAcc1" presStyleIdx="1" presStyleCnt="3"/>
      <dgm:spPr/>
      <dgm:t>
        <a:bodyPr/>
        <a:lstStyle/>
        <a:p>
          <a:endParaRPr lang="ru-RU"/>
        </a:p>
      </dgm:t>
    </dgm:pt>
    <dgm:pt modelId="{A4BDDF45-B979-4509-8923-81D28DF591B8}" type="pres">
      <dgm:prSet presAssocID="{F74CED9E-D8A2-4FA6-8830-31547DFDF481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1DBDD9-0D29-447E-BD2B-70F260F79AF8}" type="pres">
      <dgm:prSet presAssocID="{F74CED9E-D8A2-4FA6-8830-31547DFDF481}" presName="accent_3" presStyleCnt="0"/>
      <dgm:spPr/>
      <dgm:t>
        <a:bodyPr/>
        <a:lstStyle/>
        <a:p>
          <a:endParaRPr lang="ru-RU"/>
        </a:p>
      </dgm:t>
    </dgm:pt>
    <dgm:pt modelId="{06E8821A-4B73-46FC-84F1-AF0AE8A34192}" type="pres">
      <dgm:prSet presAssocID="{F74CED9E-D8A2-4FA6-8830-31547DFDF481}" presName="accentRepeatNode" presStyleLbl="solidFgAcc1" presStyleIdx="2" presStyleCnt="3"/>
      <dgm:spPr/>
      <dgm:t>
        <a:bodyPr/>
        <a:lstStyle/>
        <a:p>
          <a:endParaRPr lang="ru-RU"/>
        </a:p>
      </dgm:t>
    </dgm:pt>
  </dgm:ptLst>
  <dgm:cxnLst>
    <dgm:cxn modelId="{4E5C80D5-379E-4789-ACDB-23975C1DC8CB}" type="presOf" srcId="{183DEB44-7A13-4588-8D17-269460A6E9F1}" destId="{B5728727-6EC7-43D4-8737-7FE0B4B6437D}" srcOrd="0" destOrd="0" presId="urn:microsoft.com/office/officeart/2008/layout/VerticalCurvedList"/>
    <dgm:cxn modelId="{DBF6AA29-AC7D-4E39-B172-6BD7CDCF3568}" srcId="{CAD4C349-76F8-41AD-8916-F2EA5E120F13}" destId="{7AD2DDBF-4832-402E-A661-06C8CB582E55}" srcOrd="1" destOrd="0" parTransId="{A6A733D9-2B87-4B12-86A8-AE3747450354}" sibTransId="{007F52D0-B7A2-4C11-BB6C-2130CCC18E7C}"/>
    <dgm:cxn modelId="{1BE89751-936F-4560-827F-66AA742E322D}" srcId="{CAD4C349-76F8-41AD-8916-F2EA5E120F13}" destId="{F74CED9E-D8A2-4FA6-8830-31547DFDF481}" srcOrd="2" destOrd="0" parTransId="{EF2C718D-C33F-48D2-9A15-D73FE40055AD}" sibTransId="{9D8ABE47-BF05-40ED-BC46-05FAE7DECE56}"/>
    <dgm:cxn modelId="{433EC33D-6865-4D44-BA44-C93AB8908360}" type="presOf" srcId="{7AD2DDBF-4832-402E-A661-06C8CB582E55}" destId="{CAA4A111-DE84-44FC-A3BE-D513245A25C0}" srcOrd="0" destOrd="0" presId="urn:microsoft.com/office/officeart/2008/layout/VerticalCurvedList"/>
    <dgm:cxn modelId="{010721CC-924E-4905-A245-EA07EC73C08A}" srcId="{CAD4C349-76F8-41AD-8916-F2EA5E120F13}" destId="{183DEB44-7A13-4588-8D17-269460A6E9F1}" srcOrd="0" destOrd="0" parTransId="{525FFABB-AB2A-4A48-8772-6C50DC04A26F}" sibTransId="{1ADAF578-7C10-46D4-9E48-AEB02026B194}"/>
    <dgm:cxn modelId="{E0446119-876D-4422-83D8-DFB5951782A4}" type="presOf" srcId="{1ADAF578-7C10-46D4-9E48-AEB02026B194}" destId="{41FF533C-FB1A-4C4B-B6D7-294533AA248C}" srcOrd="0" destOrd="0" presId="urn:microsoft.com/office/officeart/2008/layout/VerticalCurvedList"/>
    <dgm:cxn modelId="{EF106F26-B8B4-4C98-844B-74EFF32C2147}" type="presOf" srcId="{CAD4C349-76F8-41AD-8916-F2EA5E120F13}" destId="{2DC73DEF-140C-47DB-8214-C08379A31B6F}" srcOrd="0" destOrd="0" presId="urn:microsoft.com/office/officeart/2008/layout/VerticalCurvedList"/>
    <dgm:cxn modelId="{E7268D77-5F74-4674-A317-B9A8A32D2E4D}" type="presOf" srcId="{F74CED9E-D8A2-4FA6-8830-31547DFDF481}" destId="{A4BDDF45-B979-4509-8923-81D28DF591B8}" srcOrd="0" destOrd="0" presId="urn:microsoft.com/office/officeart/2008/layout/VerticalCurvedList"/>
    <dgm:cxn modelId="{033F50A1-0C2F-4F86-B819-5B22673249BE}" type="presParOf" srcId="{2DC73DEF-140C-47DB-8214-C08379A31B6F}" destId="{961DCC9E-B2DA-4B9F-ADE6-2781F8CF6753}" srcOrd="0" destOrd="0" presId="urn:microsoft.com/office/officeart/2008/layout/VerticalCurvedList"/>
    <dgm:cxn modelId="{92DF2215-3C65-4C54-842D-BC78F98B32F0}" type="presParOf" srcId="{961DCC9E-B2DA-4B9F-ADE6-2781F8CF6753}" destId="{E9D3B35A-3DC7-4D1E-BFC5-86881AC2ECF2}" srcOrd="0" destOrd="0" presId="urn:microsoft.com/office/officeart/2008/layout/VerticalCurvedList"/>
    <dgm:cxn modelId="{2FD44C83-01B6-4D62-AC57-03517071909D}" type="presParOf" srcId="{E9D3B35A-3DC7-4D1E-BFC5-86881AC2ECF2}" destId="{64849975-F75A-4473-9338-AA1D3D9CD40D}" srcOrd="0" destOrd="0" presId="urn:microsoft.com/office/officeart/2008/layout/VerticalCurvedList"/>
    <dgm:cxn modelId="{D9C0879F-DE69-4588-93B3-B724B4AC6778}" type="presParOf" srcId="{E9D3B35A-3DC7-4D1E-BFC5-86881AC2ECF2}" destId="{41FF533C-FB1A-4C4B-B6D7-294533AA248C}" srcOrd="1" destOrd="0" presId="urn:microsoft.com/office/officeart/2008/layout/VerticalCurvedList"/>
    <dgm:cxn modelId="{7D159329-290C-409A-A4D8-8A2ADA349F1A}" type="presParOf" srcId="{E9D3B35A-3DC7-4D1E-BFC5-86881AC2ECF2}" destId="{44E63F03-06F2-4D6A-BFCC-532AFC0C3E3D}" srcOrd="2" destOrd="0" presId="urn:microsoft.com/office/officeart/2008/layout/VerticalCurvedList"/>
    <dgm:cxn modelId="{1414EE4B-1F32-4B56-A0F8-49AE34F3F620}" type="presParOf" srcId="{E9D3B35A-3DC7-4D1E-BFC5-86881AC2ECF2}" destId="{54181BE2-E7C4-4EC5-B772-D3ACE540FEDD}" srcOrd="3" destOrd="0" presId="urn:microsoft.com/office/officeart/2008/layout/VerticalCurvedList"/>
    <dgm:cxn modelId="{65B2B163-4D7E-4040-8AA0-BF1C8BDA73BB}" type="presParOf" srcId="{961DCC9E-B2DA-4B9F-ADE6-2781F8CF6753}" destId="{B5728727-6EC7-43D4-8737-7FE0B4B6437D}" srcOrd="1" destOrd="0" presId="urn:microsoft.com/office/officeart/2008/layout/VerticalCurvedList"/>
    <dgm:cxn modelId="{B954E286-9C6B-4679-A6DE-24F8739431BF}" type="presParOf" srcId="{961DCC9E-B2DA-4B9F-ADE6-2781F8CF6753}" destId="{1C4EBDD0-8C27-434B-98A1-263378B51C57}" srcOrd="2" destOrd="0" presId="urn:microsoft.com/office/officeart/2008/layout/VerticalCurvedList"/>
    <dgm:cxn modelId="{0549A099-2FD8-4AA6-B760-2B0F83968430}" type="presParOf" srcId="{1C4EBDD0-8C27-434B-98A1-263378B51C57}" destId="{4FCABEF0-6FB9-45C0-9D7A-176CF46447E4}" srcOrd="0" destOrd="0" presId="urn:microsoft.com/office/officeart/2008/layout/VerticalCurvedList"/>
    <dgm:cxn modelId="{E3125802-A83A-4A0C-8BEB-83C4CB524E50}" type="presParOf" srcId="{961DCC9E-B2DA-4B9F-ADE6-2781F8CF6753}" destId="{CAA4A111-DE84-44FC-A3BE-D513245A25C0}" srcOrd="3" destOrd="0" presId="urn:microsoft.com/office/officeart/2008/layout/VerticalCurvedList"/>
    <dgm:cxn modelId="{A85CE34E-37C8-4722-8DC2-C57C5999C4C7}" type="presParOf" srcId="{961DCC9E-B2DA-4B9F-ADE6-2781F8CF6753}" destId="{8C8261AA-0408-432E-A7B4-658B81EBB059}" srcOrd="4" destOrd="0" presId="urn:microsoft.com/office/officeart/2008/layout/VerticalCurvedList"/>
    <dgm:cxn modelId="{3CDC3EDD-7BDE-45E5-AE52-9A127A4C6DA8}" type="presParOf" srcId="{8C8261AA-0408-432E-A7B4-658B81EBB059}" destId="{1D34F387-6F49-4B57-B20B-7DCAE0BD0A38}" srcOrd="0" destOrd="0" presId="urn:microsoft.com/office/officeart/2008/layout/VerticalCurvedList"/>
    <dgm:cxn modelId="{3D92007B-1A99-4A0B-B706-067368EC72F3}" type="presParOf" srcId="{961DCC9E-B2DA-4B9F-ADE6-2781F8CF6753}" destId="{A4BDDF45-B979-4509-8923-81D28DF591B8}" srcOrd="5" destOrd="0" presId="urn:microsoft.com/office/officeart/2008/layout/VerticalCurvedList"/>
    <dgm:cxn modelId="{BFAD08FE-DE60-473C-9631-308FD06D2FB6}" type="presParOf" srcId="{961DCC9E-B2DA-4B9F-ADE6-2781F8CF6753}" destId="{781DBDD9-0D29-447E-BD2B-70F260F79AF8}" srcOrd="6" destOrd="0" presId="urn:microsoft.com/office/officeart/2008/layout/VerticalCurvedList"/>
    <dgm:cxn modelId="{1FCA6895-DA53-4914-9AD2-567F9D84E5F4}" type="presParOf" srcId="{781DBDD9-0D29-447E-BD2B-70F260F79AF8}" destId="{06E8821A-4B73-46FC-84F1-AF0AE8A3419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8D6A494-E512-4F15-99F0-00EED65A4182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D4458BD1-282C-4DDF-8E9F-A497F24D3ACD}">
      <dgm:prSet phldrT="[Текст]"/>
      <dgm:spPr/>
      <dgm:t>
        <a:bodyPr/>
        <a:lstStyle/>
        <a:p>
          <a:r>
            <a:rPr lang="ru-RU" dirty="0" smtClean="0"/>
            <a:t>Готовность вернуть кредит</a:t>
          </a:r>
          <a:endParaRPr lang="ru-RU" dirty="0"/>
        </a:p>
      </dgm:t>
    </dgm:pt>
    <dgm:pt modelId="{F77EED1F-A613-4445-9CD8-1352705EBB4A}" type="parTrans" cxnId="{3AD0A04D-3FBD-466E-A71A-5E53E398EE52}">
      <dgm:prSet/>
      <dgm:spPr/>
      <dgm:t>
        <a:bodyPr/>
        <a:lstStyle/>
        <a:p>
          <a:endParaRPr lang="ru-RU"/>
        </a:p>
      </dgm:t>
    </dgm:pt>
    <dgm:pt modelId="{A03D88CD-C788-49F0-B13A-4677357E8673}" type="sibTrans" cxnId="{3AD0A04D-3FBD-466E-A71A-5E53E398EE52}">
      <dgm:prSet/>
      <dgm:spPr/>
      <dgm:t>
        <a:bodyPr/>
        <a:lstStyle/>
        <a:p>
          <a:endParaRPr lang="ru-RU"/>
        </a:p>
      </dgm:t>
    </dgm:pt>
    <dgm:pt modelId="{5CE40D97-94EB-4ACD-BBDB-2A36A2C913CD}">
      <dgm:prSet phldrT="[Текст]"/>
      <dgm:spPr/>
      <dgm:t>
        <a:bodyPr/>
        <a:lstStyle/>
        <a:p>
          <a:r>
            <a:rPr lang="ru-RU" dirty="0" smtClean="0"/>
            <a:t>Наличие финансовой возможности обслуживать долг</a:t>
          </a:r>
          <a:endParaRPr lang="ru-RU" dirty="0"/>
        </a:p>
      </dgm:t>
    </dgm:pt>
    <dgm:pt modelId="{745AB433-A9EA-404B-AAF6-4BF024A88987}" type="parTrans" cxnId="{40BBFCF0-F980-4C4F-A76C-478D4C73AA87}">
      <dgm:prSet/>
      <dgm:spPr/>
      <dgm:t>
        <a:bodyPr/>
        <a:lstStyle/>
        <a:p>
          <a:endParaRPr lang="ru-RU"/>
        </a:p>
      </dgm:t>
    </dgm:pt>
    <dgm:pt modelId="{AF210015-975D-4EDD-A3D3-6BCCF8500E40}" type="sibTrans" cxnId="{40BBFCF0-F980-4C4F-A76C-478D4C73AA87}">
      <dgm:prSet/>
      <dgm:spPr/>
      <dgm:t>
        <a:bodyPr/>
        <a:lstStyle/>
        <a:p>
          <a:endParaRPr lang="ru-RU"/>
        </a:p>
      </dgm:t>
    </dgm:pt>
    <dgm:pt modelId="{E7310F5B-54FF-44F8-9162-FB70B7D35205}">
      <dgm:prSet phldrT="[Текст]"/>
      <dgm:spPr/>
      <dgm:t>
        <a:bodyPr/>
        <a:lstStyle/>
        <a:p>
          <a:r>
            <a:rPr lang="ru-RU" dirty="0" smtClean="0"/>
            <a:t>Объем имеющейся кредитной нагрузки по всем кредитным обязательствам и его соотношение с доходом заемщика</a:t>
          </a:r>
          <a:endParaRPr lang="ru-RU" dirty="0"/>
        </a:p>
      </dgm:t>
    </dgm:pt>
    <dgm:pt modelId="{3001BE7F-A4A3-4E82-B321-9E3ADA9A32E7}" type="parTrans" cxnId="{C47399AF-701D-4006-A988-D13B0E8F7B19}">
      <dgm:prSet/>
      <dgm:spPr/>
      <dgm:t>
        <a:bodyPr/>
        <a:lstStyle/>
        <a:p>
          <a:endParaRPr lang="ru-RU"/>
        </a:p>
      </dgm:t>
    </dgm:pt>
    <dgm:pt modelId="{2546987B-09D4-4607-9497-78DBD13C232B}" type="sibTrans" cxnId="{C47399AF-701D-4006-A988-D13B0E8F7B19}">
      <dgm:prSet/>
      <dgm:spPr/>
      <dgm:t>
        <a:bodyPr/>
        <a:lstStyle/>
        <a:p>
          <a:endParaRPr lang="ru-RU"/>
        </a:p>
      </dgm:t>
    </dgm:pt>
    <dgm:pt modelId="{99E1D0E7-1EF5-4382-A0BA-A6A94AF8F01A}" type="pres">
      <dgm:prSet presAssocID="{B8D6A494-E512-4F15-99F0-00EED65A4182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46B29158-A41B-4651-A427-0AD6046B870B}" type="pres">
      <dgm:prSet presAssocID="{B8D6A494-E512-4F15-99F0-00EED65A4182}" presName="Name1" presStyleCnt="0"/>
      <dgm:spPr/>
      <dgm:t>
        <a:bodyPr/>
        <a:lstStyle/>
        <a:p>
          <a:endParaRPr lang="ru-RU"/>
        </a:p>
      </dgm:t>
    </dgm:pt>
    <dgm:pt modelId="{595E09D9-ECAF-41A0-8830-97AA19CCBA1B}" type="pres">
      <dgm:prSet presAssocID="{B8D6A494-E512-4F15-99F0-00EED65A4182}" presName="cycle" presStyleCnt="0"/>
      <dgm:spPr/>
      <dgm:t>
        <a:bodyPr/>
        <a:lstStyle/>
        <a:p>
          <a:endParaRPr lang="ru-RU"/>
        </a:p>
      </dgm:t>
    </dgm:pt>
    <dgm:pt modelId="{02856196-A127-497B-A653-5CDD6120C9F5}" type="pres">
      <dgm:prSet presAssocID="{B8D6A494-E512-4F15-99F0-00EED65A4182}" presName="srcNode" presStyleLbl="node1" presStyleIdx="0" presStyleCnt="3"/>
      <dgm:spPr/>
      <dgm:t>
        <a:bodyPr/>
        <a:lstStyle/>
        <a:p>
          <a:endParaRPr lang="ru-RU"/>
        </a:p>
      </dgm:t>
    </dgm:pt>
    <dgm:pt modelId="{9D780ACB-A6B7-4567-B1C1-DA57FE2FB642}" type="pres">
      <dgm:prSet presAssocID="{B8D6A494-E512-4F15-99F0-00EED65A4182}" presName="conn" presStyleLbl="parChTrans1D2" presStyleIdx="0" presStyleCnt="1"/>
      <dgm:spPr/>
      <dgm:t>
        <a:bodyPr/>
        <a:lstStyle/>
        <a:p>
          <a:endParaRPr lang="ru-RU"/>
        </a:p>
      </dgm:t>
    </dgm:pt>
    <dgm:pt modelId="{02487793-1BA3-4E41-BD34-B28A0117987A}" type="pres">
      <dgm:prSet presAssocID="{B8D6A494-E512-4F15-99F0-00EED65A4182}" presName="extraNode" presStyleLbl="node1" presStyleIdx="0" presStyleCnt="3"/>
      <dgm:spPr/>
      <dgm:t>
        <a:bodyPr/>
        <a:lstStyle/>
        <a:p>
          <a:endParaRPr lang="ru-RU"/>
        </a:p>
      </dgm:t>
    </dgm:pt>
    <dgm:pt modelId="{4E17D6C5-1679-4653-AD09-FC309FA3BC84}" type="pres">
      <dgm:prSet presAssocID="{B8D6A494-E512-4F15-99F0-00EED65A4182}" presName="dstNode" presStyleLbl="node1" presStyleIdx="0" presStyleCnt="3"/>
      <dgm:spPr/>
      <dgm:t>
        <a:bodyPr/>
        <a:lstStyle/>
        <a:p>
          <a:endParaRPr lang="ru-RU"/>
        </a:p>
      </dgm:t>
    </dgm:pt>
    <dgm:pt modelId="{A5F94601-6AB0-4012-B29C-146977C1A7D0}" type="pres">
      <dgm:prSet presAssocID="{D4458BD1-282C-4DDF-8E9F-A497F24D3ACD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1E9FB0-6255-4AA3-ACC2-315CF138C631}" type="pres">
      <dgm:prSet presAssocID="{D4458BD1-282C-4DDF-8E9F-A497F24D3ACD}" presName="accent_1" presStyleCnt="0"/>
      <dgm:spPr/>
      <dgm:t>
        <a:bodyPr/>
        <a:lstStyle/>
        <a:p>
          <a:endParaRPr lang="ru-RU"/>
        </a:p>
      </dgm:t>
    </dgm:pt>
    <dgm:pt modelId="{0A8A25CC-2778-4292-B6A3-DD74D32E9D17}" type="pres">
      <dgm:prSet presAssocID="{D4458BD1-282C-4DDF-8E9F-A497F24D3ACD}" presName="accentRepeatNode" presStyleLbl="solidFgAcc1" presStyleIdx="0" presStyleCnt="3"/>
      <dgm:spPr/>
      <dgm:t>
        <a:bodyPr/>
        <a:lstStyle/>
        <a:p>
          <a:endParaRPr lang="ru-RU"/>
        </a:p>
      </dgm:t>
    </dgm:pt>
    <dgm:pt modelId="{946E298B-4277-47A1-8C30-B211861EC63F}" type="pres">
      <dgm:prSet presAssocID="{5CE40D97-94EB-4ACD-BBDB-2A36A2C913CD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1D80E0-965A-4571-91B4-24C010205D7A}" type="pres">
      <dgm:prSet presAssocID="{5CE40D97-94EB-4ACD-BBDB-2A36A2C913CD}" presName="accent_2" presStyleCnt="0"/>
      <dgm:spPr/>
      <dgm:t>
        <a:bodyPr/>
        <a:lstStyle/>
        <a:p>
          <a:endParaRPr lang="ru-RU"/>
        </a:p>
      </dgm:t>
    </dgm:pt>
    <dgm:pt modelId="{3686DD2E-8ED5-4633-A293-639AE68C3973}" type="pres">
      <dgm:prSet presAssocID="{5CE40D97-94EB-4ACD-BBDB-2A36A2C913CD}" presName="accentRepeatNode" presStyleLbl="solidFgAcc1" presStyleIdx="1" presStyleCnt="3"/>
      <dgm:spPr/>
      <dgm:t>
        <a:bodyPr/>
        <a:lstStyle/>
        <a:p>
          <a:endParaRPr lang="ru-RU"/>
        </a:p>
      </dgm:t>
    </dgm:pt>
    <dgm:pt modelId="{610559C0-17FD-4073-8BC0-25544868C439}" type="pres">
      <dgm:prSet presAssocID="{E7310F5B-54FF-44F8-9162-FB70B7D35205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5E01C2-3A92-483E-B729-1F0E3D1B86D1}" type="pres">
      <dgm:prSet presAssocID="{E7310F5B-54FF-44F8-9162-FB70B7D35205}" presName="accent_3" presStyleCnt="0"/>
      <dgm:spPr/>
      <dgm:t>
        <a:bodyPr/>
        <a:lstStyle/>
        <a:p>
          <a:endParaRPr lang="ru-RU"/>
        </a:p>
      </dgm:t>
    </dgm:pt>
    <dgm:pt modelId="{A5246E65-417C-47F3-97BA-3A9FBC314A89}" type="pres">
      <dgm:prSet presAssocID="{E7310F5B-54FF-44F8-9162-FB70B7D35205}" presName="accentRepeatNode" presStyleLbl="solidFgAcc1" presStyleIdx="2" presStyleCnt="3"/>
      <dgm:spPr/>
      <dgm:t>
        <a:bodyPr/>
        <a:lstStyle/>
        <a:p>
          <a:endParaRPr lang="ru-RU"/>
        </a:p>
      </dgm:t>
    </dgm:pt>
  </dgm:ptLst>
  <dgm:cxnLst>
    <dgm:cxn modelId="{951E40AC-BCBE-435B-89A1-C813CA929078}" type="presOf" srcId="{E7310F5B-54FF-44F8-9162-FB70B7D35205}" destId="{610559C0-17FD-4073-8BC0-25544868C439}" srcOrd="0" destOrd="0" presId="urn:microsoft.com/office/officeart/2008/layout/VerticalCurvedList"/>
    <dgm:cxn modelId="{2C6AA608-5567-4284-ADCB-B222124792EE}" type="presOf" srcId="{5CE40D97-94EB-4ACD-BBDB-2A36A2C913CD}" destId="{946E298B-4277-47A1-8C30-B211861EC63F}" srcOrd="0" destOrd="0" presId="urn:microsoft.com/office/officeart/2008/layout/VerticalCurvedList"/>
    <dgm:cxn modelId="{61DA8DEC-3F0D-4644-9791-1C6CE6D04E47}" type="presOf" srcId="{A03D88CD-C788-49F0-B13A-4677357E8673}" destId="{9D780ACB-A6B7-4567-B1C1-DA57FE2FB642}" srcOrd="0" destOrd="0" presId="urn:microsoft.com/office/officeart/2008/layout/VerticalCurvedList"/>
    <dgm:cxn modelId="{C47399AF-701D-4006-A988-D13B0E8F7B19}" srcId="{B8D6A494-E512-4F15-99F0-00EED65A4182}" destId="{E7310F5B-54FF-44F8-9162-FB70B7D35205}" srcOrd="2" destOrd="0" parTransId="{3001BE7F-A4A3-4E82-B321-9E3ADA9A32E7}" sibTransId="{2546987B-09D4-4607-9497-78DBD13C232B}"/>
    <dgm:cxn modelId="{40BBFCF0-F980-4C4F-A76C-478D4C73AA87}" srcId="{B8D6A494-E512-4F15-99F0-00EED65A4182}" destId="{5CE40D97-94EB-4ACD-BBDB-2A36A2C913CD}" srcOrd="1" destOrd="0" parTransId="{745AB433-A9EA-404B-AAF6-4BF024A88987}" sibTransId="{AF210015-975D-4EDD-A3D3-6BCCF8500E40}"/>
    <dgm:cxn modelId="{38EE417F-CFAA-4D9F-A80C-567CF187FC11}" type="presOf" srcId="{B8D6A494-E512-4F15-99F0-00EED65A4182}" destId="{99E1D0E7-1EF5-4382-A0BA-A6A94AF8F01A}" srcOrd="0" destOrd="0" presId="urn:microsoft.com/office/officeart/2008/layout/VerticalCurvedList"/>
    <dgm:cxn modelId="{6B4F9C1F-AFFB-4E78-A2AA-BC0C6303D7D3}" type="presOf" srcId="{D4458BD1-282C-4DDF-8E9F-A497F24D3ACD}" destId="{A5F94601-6AB0-4012-B29C-146977C1A7D0}" srcOrd="0" destOrd="0" presId="urn:microsoft.com/office/officeart/2008/layout/VerticalCurvedList"/>
    <dgm:cxn modelId="{3AD0A04D-3FBD-466E-A71A-5E53E398EE52}" srcId="{B8D6A494-E512-4F15-99F0-00EED65A4182}" destId="{D4458BD1-282C-4DDF-8E9F-A497F24D3ACD}" srcOrd="0" destOrd="0" parTransId="{F77EED1F-A613-4445-9CD8-1352705EBB4A}" sibTransId="{A03D88CD-C788-49F0-B13A-4677357E8673}"/>
    <dgm:cxn modelId="{5E6E1E7D-C9D9-4FBF-924A-61B0CA53D32A}" type="presParOf" srcId="{99E1D0E7-1EF5-4382-A0BA-A6A94AF8F01A}" destId="{46B29158-A41B-4651-A427-0AD6046B870B}" srcOrd="0" destOrd="0" presId="urn:microsoft.com/office/officeart/2008/layout/VerticalCurvedList"/>
    <dgm:cxn modelId="{A40A69E4-BD52-4E43-8F7A-46EB5CA9C14E}" type="presParOf" srcId="{46B29158-A41B-4651-A427-0AD6046B870B}" destId="{595E09D9-ECAF-41A0-8830-97AA19CCBA1B}" srcOrd="0" destOrd="0" presId="urn:microsoft.com/office/officeart/2008/layout/VerticalCurvedList"/>
    <dgm:cxn modelId="{6B87BB12-E7FE-4D90-9257-7308CE40BD76}" type="presParOf" srcId="{595E09D9-ECAF-41A0-8830-97AA19CCBA1B}" destId="{02856196-A127-497B-A653-5CDD6120C9F5}" srcOrd="0" destOrd="0" presId="urn:microsoft.com/office/officeart/2008/layout/VerticalCurvedList"/>
    <dgm:cxn modelId="{C0226BA6-FD16-40EE-BFE4-5407A77C444A}" type="presParOf" srcId="{595E09D9-ECAF-41A0-8830-97AA19CCBA1B}" destId="{9D780ACB-A6B7-4567-B1C1-DA57FE2FB642}" srcOrd="1" destOrd="0" presId="urn:microsoft.com/office/officeart/2008/layout/VerticalCurvedList"/>
    <dgm:cxn modelId="{2DD56852-DF95-472B-B3BB-4D8893244277}" type="presParOf" srcId="{595E09D9-ECAF-41A0-8830-97AA19CCBA1B}" destId="{02487793-1BA3-4E41-BD34-B28A0117987A}" srcOrd="2" destOrd="0" presId="urn:microsoft.com/office/officeart/2008/layout/VerticalCurvedList"/>
    <dgm:cxn modelId="{02E62921-DBA5-4B55-A68C-5EEC2EA86596}" type="presParOf" srcId="{595E09D9-ECAF-41A0-8830-97AA19CCBA1B}" destId="{4E17D6C5-1679-4653-AD09-FC309FA3BC84}" srcOrd="3" destOrd="0" presId="urn:microsoft.com/office/officeart/2008/layout/VerticalCurvedList"/>
    <dgm:cxn modelId="{5E5EF64F-AC95-46AC-846A-A808C4DDF39D}" type="presParOf" srcId="{46B29158-A41B-4651-A427-0AD6046B870B}" destId="{A5F94601-6AB0-4012-B29C-146977C1A7D0}" srcOrd="1" destOrd="0" presId="urn:microsoft.com/office/officeart/2008/layout/VerticalCurvedList"/>
    <dgm:cxn modelId="{B2891813-D62B-4D1C-8761-66F5E14F8FF4}" type="presParOf" srcId="{46B29158-A41B-4651-A427-0AD6046B870B}" destId="{961E9FB0-6255-4AA3-ACC2-315CF138C631}" srcOrd="2" destOrd="0" presId="urn:microsoft.com/office/officeart/2008/layout/VerticalCurvedList"/>
    <dgm:cxn modelId="{05A14CC6-54CC-48CC-8EAA-76D0B927A06B}" type="presParOf" srcId="{961E9FB0-6255-4AA3-ACC2-315CF138C631}" destId="{0A8A25CC-2778-4292-B6A3-DD74D32E9D17}" srcOrd="0" destOrd="0" presId="urn:microsoft.com/office/officeart/2008/layout/VerticalCurvedList"/>
    <dgm:cxn modelId="{86EB07A4-F48D-41BA-A616-7269B7AA9E3B}" type="presParOf" srcId="{46B29158-A41B-4651-A427-0AD6046B870B}" destId="{946E298B-4277-47A1-8C30-B211861EC63F}" srcOrd="3" destOrd="0" presId="urn:microsoft.com/office/officeart/2008/layout/VerticalCurvedList"/>
    <dgm:cxn modelId="{A48B8C15-8D6D-4992-9EA4-D92EBD07FCA5}" type="presParOf" srcId="{46B29158-A41B-4651-A427-0AD6046B870B}" destId="{B61D80E0-965A-4571-91B4-24C010205D7A}" srcOrd="4" destOrd="0" presId="urn:microsoft.com/office/officeart/2008/layout/VerticalCurvedList"/>
    <dgm:cxn modelId="{BAF65108-CE7F-41B3-B182-2E8ABA959262}" type="presParOf" srcId="{B61D80E0-965A-4571-91B4-24C010205D7A}" destId="{3686DD2E-8ED5-4633-A293-639AE68C3973}" srcOrd="0" destOrd="0" presId="urn:microsoft.com/office/officeart/2008/layout/VerticalCurvedList"/>
    <dgm:cxn modelId="{3A862E7C-A3D7-4DD0-B94D-F5B5A9DEDD7B}" type="presParOf" srcId="{46B29158-A41B-4651-A427-0AD6046B870B}" destId="{610559C0-17FD-4073-8BC0-25544868C439}" srcOrd="5" destOrd="0" presId="urn:microsoft.com/office/officeart/2008/layout/VerticalCurvedList"/>
    <dgm:cxn modelId="{7E015C12-90CA-4BBC-971B-43847A5C0C21}" type="presParOf" srcId="{46B29158-A41B-4651-A427-0AD6046B870B}" destId="{2B5E01C2-3A92-483E-B729-1F0E3D1B86D1}" srcOrd="6" destOrd="0" presId="urn:microsoft.com/office/officeart/2008/layout/VerticalCurvedList"/>
    <dgm:cxn modelId="{51BD7142-A79D-4CBC-8B0C-43239A7E6F73}" type="presParOf" srcId="{2B5E01C2-3A92-483E-B729-1F0E3D1B86D1}" destId="{A5246E65-417C-47F3-97BA-3A9FBC314A8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4905745-237D-4B92-9DF7-B518C0EA454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41EBB07-043A-49D2-B5B4-2C305F13AFDE}">
      <dgm:prSet phldrT="[Текст]"/>
      <dgm:spPr/>
      <dgm:t>
        <a:bodyPr/>
        <a:lstStyle/>
        <a:p>
          <a:r>
            <a:rPr lang="ru-RU" dirty="0" smtClean="0"/>
            <a:t>Положительные факторы</a:t>
          </a:r>
        </a:p>
        <a:p>
          <a:endParaRPr lang="ru-RU" dirty="0"/>
        </a:p>
      </dgm:t>
    </dgm:pt>
    <dgm:pt modelId="{6CF0F807-905C-40FF-B92C-4C403F755817}" type="parTrans" cxnId="{5B68967B-6B03-4E15-8F3F-9D4ECEDFD205}">
      <dgm:prSet/>
      <dgm:spPr/>
      <dgm:t>
        <a:bodyPr/>
        <a:lstStyle/>
        <a:p>
          <a:endParaRPr lang="ru-RU"/>
        </a:p>
      </dgm:t>
    </dgm:pt>
    <dgm:pt modelId="{ECDAAC64-6C91-4264-B455-707B72D12A21}" type="sibTrans" cxnId="{5B68967B-6B03-4E15-8F3F-9D4ECEDFD205}">
      <dgm:prSet/>
      <dgm:spPr/>
      <dgm:t>
        <a:bodyPr/>
        <a:lstStyle/>
        <a:p>
          <a:endParaRPr lang="ru-RU"/>
        </a:p>
      </dgm:t>
    </dgm:pt>
    <dgm:pt modelId="{65E8839A-2237-4DFF-932F-3A6AD3F70069}">
      <dgm:prSet phldrT="[Текст]"/>
      <dgm:spPr/>
      <dgm:t>
        <a:bodyPr/>
        <a:lstStyle/>
        <a:p>
          <a:r>
            <a:rPr lang="ru-RU" dirty="0" smtClean="0"/>
            <a:t>Достаточная длительность кредитной истории в части обслуживания займов</a:t>
          </a:r>
          <a:endParaRPr lang="ru-RU" dirty="0"/>
        </a:p>
      </dgm:t>
    </dgm:pt>
    <dgm:pt modelId="{F28E61C5-7E06-4DF5-AEB1-E8F39633DBCC}" type="parTrans" cxnId="{54A623F1-424F-4468-86E7-767B00275991}">
      <dgm:prSet/>
      <dgm:spPr/>
      <dgm:t>
        <a:bodyPr/>
        <a:lstStyle/>
        <a:p>
          <a:endParaRPr lang="ru-RU"/>
        </a:p>
      </dgm:t>
    </dgm:pt>
    <dgm:pt modelId="{2F015CCB-806D-4D5C-86C8-5ABA416FD2D4}" type="sibTrans" cxnId="{54A623F1-424F-4468-86E7-767B00275991}">
      <dgm:prSet/>
      <dgm:spPr/>
      <dgm:t>
        <a:bodyPr/>
        <a:lstStyle/>
        <a:p>
          <a:endParaRPr lang="ru-RU"/>
        </a:p>
      </dgm:t>
    </dgm:pt>
    <dgm:pt modelId="{CC2FF0DC-F12E-44AD-9EB6-02DF4D31D157}">
      <dgm:prSet phldrT="[Текст]"/>
      <dgm:spPr/>
      <dgm:t>
        <a:bodyPr/>
        <a:lstStyle/>
        <a:p>
          <a:r>
            <a:rPr lang="ru-RU" dirty="0" smtClean="0"/>
            <a:t>Своевременность платежей по кредитам</a:t>
          </a:r>
          <a:endParaRPr lang="ru-RU" dirty="0"/>
        </a:p>
      </dgm:t>
    </dgm:pt>
    <dgm:pt modelId="{68C68428-38FF-4CE8-B183-8C0CF7E05767}" type="parTrans" cxnId="{C6151FE7-872A-47B0-9418-D756F5E31580}">
      <dgm:prSet/>
      <dgm:spPr/>
      <dgm:t>
        <a:bodyPr/>
        <a:lstStyle/>
        <a:p>
          <a:endParaRPr lang="ru-RU"/>
        </a:p>
      </dgm:t>
    </dgm:pt>
    <dgm:pt modelId="{9143EAB5-D556-4CF1-A7EC-9445C6005F32}" type="sibTrans" cxnId="{C6151FE7-872A-47B0-9418-D756F5E31580}">
      <dgm:prSet/>
      <dgm:spPr/>
      <dgm:t>
        <a:bodyPr/>
        <a:lstStyle/>
        <a:p>
          <a:endParaRPr lang="ru-RU"/>
        </a:p>
      </dgm:t>
    </dgm:pt>
    <dgm:pt modelId="{13CE7C55-2FEE-4E3E-A649-2A823752F81F}">
      <dgm:prSet phldrT="[Текст]"/>
      <dgm:spPr/>
      <dgm:t>
        <a:bodyPr/>
        <a:lstStyle/>
        <a:p>
          <a:r>
            <a:rPr lang="ru-RU" dirty="0" smtClean="0"/>
            <a:t>Наличие хорошей кредитной истории в банке, в который заемщик обращается за кредитом</a:t>
          </a:r>
          <a:endParaRPr lang="ru-RU" dirty="0"/>
        </a:p>
      </dgm:t>
    </dgm:pt>
    <dgm:pt modelId="{CDD1C4B7-FF8E-43EE-9A8C-A8A2B4FFE083}" type="parTrans" cxnId="{7844910E-6FAC-434D-8CB4-855AEF78C6BC}">
      <dgm:prSet/>
      <dgm:spPr/>
      <dgm:t>
        <a:bodyPr/>
        <a:lstStyle/>
        <a:p>
          <a:endParaRPr lang="ru-RU"/>
        </a:p>
      </dgm:t>
    </dgm:pt>
    <dgm:pt modelId="{C4805069-B6D8-4F1B-B4F8-1C96E8C09C9A}" type="sibTrans" cxnId="{7844910E-6FAC-434D-8CB4-855AEF78C6BC}">
      <dgm:prSet/>
      <dgm:spPr/>
      <dgm:t>
        <a:bodyPr/>
        <a:lstStyle/>
        <a:p>
          <a:endParaRPr lang="ru-RU"/>
        </a:p>
      </dgm:t>
    </dgm:pt>
    <dgm:pt modelId="{A33C0922-1CD4-4B0C-AAC7-6FFF5039A6B4}" type="pres">
      <dgm:prSet presAssocID="{84905745-237D-4B92-9DF7-B518C0EA454B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ED3440A6-A893-4F08-9028-A68C388B8403}" type="pres">
      <dgm:prSet presAssocID="{C41EBB07-043A-49D2-B5B4-2C305F13AFDE}" presName="thickLine" presStyleLbl="alignNode1" presStyleIdx="0" presStyleCnt="1"/>
      <dgm:spPr/>
    </dgm:pt>
    <dgm:pt modelId="{30B9EC67-494D-4257-824C-1AB9B6DBE7DA}" type="pres">
      <dgm:prSet presAssocID="{C41EBB07-043A-49D2-B5B4-2C305F13AFDE}" presName="horz1" presStyleCnt="0"/>
      <dgm:spPr/>
    </dgm:pt>
    <dgm:pt modelId="{14BA54D6-5146-41B1-A595-F04B7B3FF67A}" type="pres">
      <dgm:prSet presAssocID="{C41EBB07-043A-49D2-B5B4-2C305F13AFDE}" presName="tx1" presStyleLbl="revTx" presStyleIdx="0" presStyleCnt="4"/>
      <dgm:spPr/>
      <dgm:t>
        <a:bodyPr/>
        <a:lstStyle/>
        <a:p>
          <a:endParaRPr lang="ru-RU"/>
        </a:p>
      </dgm:t>
    </dgm:pt>
    <dgm:pt modelId="{EA56207D-19E0-4B18-BA74-C9A3D28627C6}" type="pres">
      <dgm:prSet presAssocID="{C41EBB07-043A-49D2-B5B4-2C305F13AFDE}" presName="vert1" presStyleCnt="0"/>
      <dgm:spPr/>
    </dgm:pt>
    <dgm:pt modelId="{4759AE5E-6B25-4339-BE86-F2FA5A113FCD}" type="pres">
      <dgm:prSet presAssocID="{65E8839A-2237-4DFF-932F-3A6AD3F70069}" presName="vertSpace2a" presStyleCnt="0"/>
      <dgm:spPr/>
    </dgm:pt>
    <dgm:pt modelId="{3D4A7175-031F-4920-BBC3-BB61F68C3AB9}" type="pres">
      <dgm:prSet presAssocID="{65E8839A-2237-4DFF-932F-3A6AD3F70069}" presName="horz2" presStyleCnt="0"/>
      <dgm:spPr/>
    </dgm:pt>
    <dgm:pt modelId="{E14BA65F-8559-423B-8646-1B20179E6918}" type="pres">
      <dgm:prSet presAssocID="{65E8839A-2237-4DFF-932F-3A6AD3F70069}" presName="horzSpace2" presStyleCnt="0"/>
      <dgm:spPr/>
    </dgm:pt>
    <dgm:pt modelId="{CBDF9F12-3772-41ED-BD48-85CA0C764E3C}" type="pres">
      <dgm:prSet presAssocID="{65E8839A-2237-4DFF-932F-3A6AD3F70069}" presName="tx2" presStyleLbl="revTx" presStyleIdx="1" presStyleCnt="4"/>
      <dgm:spPr/>
      <dgm:t>
        <a:bodyPr/>
        <a:lstStyle/>
        <a:p>
          <a:endParaRPr lang="ru-RU"/>
        </a:p>
      </dgm:t>
    </dgm:pt>
    <dgm:pt modelId="{5EE249A9-FB2E-4B1A-99A9-6752A9E56C87}" type="pres">
      <dgm:prSet presAssocID="{65E8839A-2237-4DFF-932F-3A6AD3F70069}" presName="vert2" presStyleCnt="0"/>
      <dgm:spPr/>
    </dgm:pt>
    <dgm:pt modelId="{F0F7C186-336D-4499-9060-28DF7B836EA3}" type="pres">
      <dgm:prSet presAssocID="{65E8839A-2237-4DFF-932F-3A6AD3F70069}" presName="thinLine2b" presStyleLbl="callout" presStyleIdx="0" presStyleCnt="3"/>
      <dgm:spPr/>
    </dgm:pt>
    <dgm:pt modelId="{E2EFDF2C-A2E9-42D9-A97B-82ABB9C35A79}" type="pres">
      <dgm:prSet presAssocID="{65E8839A-2237-4DFF-932F-3A6AD3F70069}" presName="vertSpace2b" presStyleCnt="0"/>
      <dgm:spPr/>
    </dgm:pt>
    <dgm:pt modelId="{9625F51C-C5D6-4B04-B32C-B2BA03FEB28D}" type="pres">
      <dgm:prSet presAssocID="{CC2FF0DC-F12E-44AD-9EB6-02DF4D31D157}" presName="horz2" presStyleCnt="0"/>
      <dgm:spPr/>
    </dgm:pt>
    <dgm:pt modelId="{0E60BA32-CA40-43BD-BA27-2F13323B4724}" type="pres">
      <dgm:prSet presAssocID="{CC2FF0DC-F12E-44AD-9EB6-02DF4D31D157}" presName="horzSpace2" presStyleCnt="0"/>
      <dgm:spPr/>
    </dgm:pt>
    <dgm:pt modelId="{599432A8-C701-4D26-957C-D84074CAF5C9}" type="pres">
      <dgm:prSet presAssocID="{CC2FF0DC-F12E-44AD-9EB6-02DF4D31D157}" presName="tx2" presStyleLbl="revTx" presStyleIdx="2" presStyleCnt="4"/>
      <dgm:spPr/>
      <dgm:t>
        <a:bodyPr/>
        <a:lstStyle/>
        <a:p>
          <a:endParaRPr lang="ru-RU"/>
        </a:p>
      </dgm:t>
    </dgm:pt>
    <dgm:pt modelId="{5DFF3DAD-8C02-4C23-B8FD-466C5364102B}" type="pres">
      <dgm:prSet presAssocID="{CC2FF0DC-F12E-44AD-9EB6-02DF4D31D157}" presName="vert2" presStyleCnt="0"/>
      <dgm:spPr/>
    </dgm:pt>
    <dgm:pt modelId="{B4019518-3090-4E0E-8F07-C22691470185}" type="pres">
      <dgm:prSet presAssocID="{CC2FF0DC-F12E-44AD-9EB6-02DF4D31D157}" presName="thinLine2b" presStyleLbl="callout" presStyleIdx="1" presStyleCnt="3"/>
      <dgm:spPr/>
    </dgm:pt>
    <dgm:pt modelId="{F4C30226-3051-47FD-944F-A9E466BB065B}" type="pres">
      <dgm:prSet presAssocID="{CC2FF0DC-F12E-44AD-9EB6-02DF4D31D157}" presName="vertSpace2b" presStyleCnt="0"/>
      <dgm:spPr/>
    </dgm:pt>
    <dgm:pt modelId="{0AD583FF-4E75-4E93-BF29-8ECF5BC875AB}" type="pres">
      <dgm:prSet presAssocID="{13CE7C55-2FEE-4E3E-A649-2A823752F81F}" presName="horz2" presStyleCnt="0"/>
      <dgm:spPr/>
    </dgm:pt>
    <dgm:pt modelId="{65B00FFC-5CFB-4E30-B977-8F26D220EB94}" type="pres">
      <dgm:prSet presAssocID="{13CE7C55-2FEE-4E3E-A649-2A823752F81F}" presName="horzSpace2" presStyleCnt="0"/>
      <dgm:spPr/>
    </dgm:pt>
    <dgm:pt modelId="{7259E3A1-5C39-4844-9B15-144ED3916955}" type="pres">
      <dgm:prSet presAssocID="{13CE7C55-2FEE-4E3E-A649-2A823752F81F}" presName="tx2" presStyleLbl="revTx" presStyleIdx="3" presStyleCnt="4"/>
      <dgm:spPr/>
      <dgm:t>
        <a:bodyPr/>
        <a:lstStyle/>
        <a:p>
          <a:endParaRPr lang="ru-RU"/>
        </a:p>
      </dgm:t>
    </dgm:pt>
    <dgm:pt modelId="{D0AC4CFA-B917-4EAD-BB7B-A4C6F5BCB08E}" type="pres">
      <dgm:prSet presAssocID="{13CE7C55-2FEE-4E3E-A649-2A823752F81F}" presName="vert2" presStyleCnt="0"/>
      <dgm:spPr/>
    </dgm:pt>
    <dgm:pt modelId="{94584082-1B29-49A3-A3C2-AB073CD5D3BC}" type="pres">
      <dgm:prSet presAssocID="{13CE7C55-2FEE-4E3E-A649-2A823752F81F}" presName="thinLine2b" presStyleLbl="callout" presStyleIdx="2" presStyleCnt="3"/>
      <dgm:spPr/>
    </dgm:pt>
    <dgm:pt modelId="{76BAF47A-6A2E-44CE-A239-BA933643D643}" type="pres">
      <dgm:prSet presAssocID="{13CE7C55-2FEE-4E3E-A649-2A823752F81F}" presName="vertSpace2b" presStyleCnt="0"/>
      <dgm:spPr/>
    </dgm:pt>
  </dgm:ptLst>
  <dgm:cxnLst>
    <dgm:cxn modelId="{C6151FE7-872A-47B0-9418-D756F5E31580}" srcId="{C41EBB07-043A-49D2-B5B4-2C305F13AFDE}" destId="{CC2FF0DC-F12E-44AD-9EB6-02DF4D31D157}" srcOrd="1" destOrd="0" parTransId="{68C68428-38FF-4CE8-B183-8C0CF7E05767}" sibTransId="{9143EAB5-D556-4CF1-A7EC-9445C6005F32}"/>
    <dgm:cxn modelId="{994223AF-DC29-4543-92C2-907D8653EC0C}" type="presOf" srcId="{CC2FF0DC-F12E-44AD-9EB6-02DF4D31D157}" destId="{599432A8-C701-4D26-957C-D84074CAF5C9}" srcOrd="0" destOrd="0" presId="urn:microsoft.com/office/officeart/2008/layout/LinedList"/>
    <dgm:cxn modelId="{16B749F9-B6DE-483F-83C9-980FE56AD799}" type="presOf" srcId="{13CE7C55-2FEE-4E3E-A649-2A823752F81F}" destId="{7259E3A1-5C39-4844-9B15-144ED3916955}" srcOrd="0" destOrd="0" presId="urn:microsoft.com/office/officeart/2008/layout/LinedList"/>
    <dgm:cxn modelId="{7844910E-6FAC-434D-8CB4-855AEF78C6BC}" srcId="{C41EBB07-043A-49D2-B5B4-2C305F13AFDE}" destId="{13CE7C55-2FEE-4E3E-A649-2A823752F81F}" srcOrd="2" destOrd="0" parTransId="{CDD1C4B7-FF8E-43EE-9A8C-A8A2B4FFE083}" sibTransId="{C4805069-B6D8-4F1B-B4F8-1C96E8C09C9A}"/>
    <dgm:cxn modelId="{5B68967B-6B03-4E15-8F3F-9D4ECEDFD205}" srcId="{84905745-237D-4B92-9DF7-B518C0EA454B}" destId="{C41EBB07-043A-49D2-B5B4-2C305F13AFDE}" srcOrd="0" destOrd="0" parTransId="{6CF0F807-905C-40FF-B92C-4C403F755817}" sibTransId="{ECDAAC64-6C91-4264-B455-707B72D12A21}"/>
    <dgm:cxn modelId="{5C6E7050-9AD9-4831-A986-ADDE40E417FC}" type="presOf" srcId="{84905745-237D-4B92-9DF7-B518C0EA454B}" destId="{A33C0922-1CD4-4B0C-AAC7-6FFF5039A6B4}" srcOrd="0" destOrd="0" presId="urn:microsoft.com/office/officeart/2008/layout/LinedList"/>
    <dgm:cxn modelId="{54A623F1-424F-4468-86E7-767B00275991}" srcId="{C41EBB07-043A-49D2-B5B4-2C305F13AFDE}" destId="{65E8839A-2237-4DFF-932F-3A6AD3F70069}" srcOrd="0" destOrd="0" parTransId="{F28E61C5-7E06-4DF5-AEB1-E8F39633DBCC}" sibTransId="{2F015CCB-806D-4D5C-86C8-5ABA416FD2D4}"/>
    <dgm:cxn modelId="{ED809EBD-664D-4B04-BAFB-110F01E3201F}" type="presOf" srcId="{65E8839A-2237-4DFF-932F-3A6AD3F70069}" destId="{CBDF9F12-3772-41ED-BD48-85CA0C764E3C}" srcOrd="0" destOrd="0" presId="urn:microsoft.com/office/officeart/2008/layout/LinedList"/>
    <dgm:cxn modelId="{0FA34A2D-DE5C-44D5-AA9F-16C4E22CD8EA}" type="presOf" srcId="{C41EBB07-043A-49D2-B5B4-2C305F13AFDE}" destId="{14BA54D6-5146-41B1-A595-F04B7B3FF67A}" srcOrd="0" destOrd="0" presId="urn:microsoft.com/office/officeart/2008/layout/LinedList"/>
    <dgm:cxn modelId="{0E31A78E-ABAB-4C1F-B96A-02F5548D7770}" type="presParOf" srcId="{A33C0922-1CD4-4B0C-AAC7-6FFF5039A6B4}" destId="{ED3440A6-A893-4F08-9028-A68C388B8403}" srcOrd="0" destOrd="0" presId="urn:microsoft.com/office/officeart/2008/layout/LinedList"/>
    <dgm:cxn modelId="{4F826BA1-28C5-439C-A12E-D45B27F05301}" type="presParOf" srcId="{A33C0922-1CD4-4B0C-AAC7-6FFF5039A6B4}" destId="{30B9EC67-494D-4257-824C-1AB9B6DBE7DA}" srcOrd="1" destOrd="0" presId="urn:microsoft.com/office/officeart/2008/layout/LinedList"/>
    <dgm:cxn modelId="{A86F1577-70DA-4604-8253-87D0ABA2E9B1}" type="presParOf" srcId="{30B9EC67-494D-4257-824C-1AB9B6DBE7DA}" destId="{14BA54D6-5146-41B1-A595-F04B7B3FF67A}" srcOrd="0" destOrd="0" presId="urn:microsoft.com/office/officeart/2008/layout/LinedList"/>
    <dgm:cxn modelId="{50D6CED8-2E78-4B16-89DD-817ED1645410}" type="presParOf" srcId="{30B9EC67-494D-4257-824C-1AB9B6DBE7DA}" destId="{EA56207D-19E0-4B18-BA74-C9A3D28627C6}" srcOrd="1" destOrd="0" presId="urn:microsoft.com/office/officeart/2008/layout/LinedList"/>
    <dgm:cxn modelId="{1535B2FB-D60F-484C-AC9B-FE09C90FD2F2}" type="presParOf" srcId="{EA56207D-19E0-4B18-BA74-C9A3D28627C6}" destId="{4759AE5E-6B25-4339-BE86-F2FA5A113FCD}" srcOrd="0" destOrd="0" presId="urn:microsoft.com/office/officeart/2008/layout/LinedList"/>
    <dgm:cxn modelId="{35D9C698-F74A-4F07-8403-8F832E79C710}" type="presParOf" srcId="{EA56207D-19E0-4B18-BA74-C9A3D28627C6}" destId="{3D4A7175-031F-4920-BBC3-BB61F68C3AB9}" srcOrd="1" destOrd="0" presId="urn:microsoft.com/office/officeart/2008/layout/LinedList"/>
    <dgm:cxn modelId="{3EC71637-F04C-46B1-804A-BBF4814C8685}" type="presParOf" srcId="{3D4A7175-031F-4920-BBC3-BB61F68C3AB9}" destId="{E14BA65F-8559-423B-8646-1B20179E6918}" srcOrd="0" destOrd="0" presId="urn:microsoft.com/office/officeart/2008/layout/LinedList"/>
    <dgm:cxn modelId="{7B2BEB2B-F322-4365-944D-E004979473AC}" type="presParOf" srcId="{3D4A7175-031F-4920-BBC3-BB61F68C3AB9}" destId="{CBDF9F12-3772-41ED-BD48-85CA0C764E3C}" srcOrd="1" destOrd="0" presId="urn:microsoft.com/office/officeart/2008/layout/LinedList"/>
    <dgm:cxn modelId="{BE697832-910B-46D4-AF01-0BA1706B4527}" type="presParOf" srcId="{3D4A7175-031F-4920-BBC3-BB61F68C3AB9}" destId="{5EE249A9-FB2E-4B1A-99A9-6752A9E56C87}" srcOrd="2" destOrd="0" presId="urn:microsoft.com/office/officeart/2008/layout/LinedList"/>
    <dgm:cxn modelId="{2A680D67-5940-4E5F-B8AF-2835E8845AC0}" type="presParOf" srcId="{EA56207D-19E0-4B18-BA74-C9A3D28627C6}" destId="{F0F7C186-336D-4499-9060-28DF7B836EA3}" srcOrd="2" destOrd="0" presId="urn:microsoft.com/office/officeart/2008/layout/LinedList"/>
    <dgm:cxn modelId="{7E3F782E-A264-4489-8047-6575252C5A43}" type="presParOf" srcId="{EA56207D-19E0-4B18-BA74-C9A3D28627C6}" destId="{E2EFDF2C-A2E9-42D9-A97B-82ABB9C35A79}" srcOrd="3" destOrd="0" presId="urn:microsoft.com/office/officeart/2008/layout/LinedList"/>
    <dgm:cxn modelId="{845A385D-E85C-4731-B9D4-28370CAAAEA3}" type="presParOf" srcId="{EA56207D-19E0-4B18-BA74-C9A3D28627C6}" destId="{9625F51C-C5D6-4B04-B32C-B2BA03FEB28D}" srcOrd="4" destOrd="0" presId="urn:microsoft.com/office/officeart/2008/layout/LinedList"/>
    <dgm:cxn modelId="{00CA1E08-9165-42B9-AC4F-CEF148A3CFC2}" type="presParOf" srcId="{9625F51C-C5D6-4B04-B32C-B2BA03FEB28D}" destId="{0E60BA32-CA40-43BD-BA27-2F13323B4724}" srcOrd="0" destOrd="0" presId="urn:microsoft.com/office/officeart/2008/layout/LinedList"/>
    <dgm:cxn modelId="{DFD8B36F-3730-48FB-BC13-E5B32DB152C4}" type="presParOf" srcId="{9625F51C-C5D6-4B04-B32C-B2BA03FEB28D}" destId="{599432A8-C701-4D26-957C-D84074CAF5C9}" srcOrd="1" destOrd="0" presId="urn:microsoft.com/office/officeart/2008/layout/LinedList"/>
    <dgm:cxn modelId="{F8F825A0-260D-4742-BB14-D2F46BB863DE}" type="presParOf" srcId="{9625F51C-C5D6-4B04-B32C-B2BA03FEB28D}" destId="{5DFF3DAD-8C02-4C23-B8FD-466C5364102B}" srcOrd="2" destOrd="0" presId="urn:microsoft.com/office/officeart/2008/layout/LinedList"/>
    <dgm:cxn modelId="{4FF79695-B75E-48F3-BA9D-B205CD1E7C21}" type="presParOf" srcId="{EA56207D-19E0-4B18-BA74-C9A3D28627C6}" destId="{B4019518-3090-4E0E-8F07-C22691470185}" srcOrd="5" destOrd="0" presId="urn:microsoft.com/office/officeart/2008/layout/LinedList"/>
    <dgm:cxn modelId="{F4F605FE-C308-44A7-B1EE-657558F004FD}" type="presParOf" srcId="{EA56207D-19E0-4B18-BA74-C9A3D28627C6}" destId="{F4C30226-3051-47FD-944F-A9E466BB065B}" srcOrd="6" destOrd="0" presId="urn:microsoft.com/office/officeart/2008/layout/LinedList"/>
    <dgm:cxn modelId="{9E9081E0-32FF-4D69-B848-C6B5B14E16B8}" type="presParOf" srcId="{EA56207D-19E0-4B18-BA74-C9A3D28627C6}" destId="{0AD583FF-4E75-4E93-BF29-8ECF5BC875AB}" srcOrd="7" destOrd="0" presId="urn:microsoft.com/office/officeart/2008/layout/LinedList"/>
    <dgm:cxn modelId="{D6AB52AB-E62A-47E8-B912-D4B93BA7A40B}" type="presParOf" srcId="{0AD583FF-4E75-4E93-BF29-8ECF5BC875AB}" destId="{65B00FFC-5CFB-4E30-B977-8F26D220EB94}" srcOrd="0" destOrd="0" presId="urn:microsoft.com/office/officeart/2008/layout/LinedList"/>
    <dgm:cxn modelId="{E344318D-035D-4D97-9D30-1E6804D79B65}" type="presParOf" srcId="{0AD583FF-4E75-4E93-BF29-8ECF5BC875AB}" destId="{7259E3A1-5C39-4844-9B15-144ED3916955}" srcOrd="1" destOrd="0" presId="urn:microsoft.com/office/officeart/2008/layout/LinedList"/>
    <dgm:cxn modelId="{1BAA002B-1EAA-4F94-967B-BE5919578B6A}" type="presParOf" srcId="{0AD583FF-4E75-4E93-BF29-8ECF5BC875AB}" destId="{D0AC4CFA-B917-4EAD-BB7B-A4C6F5BCB08E}" srcOrd="2" destOrd="0" presId="urn:microsoft.com/office/officeart/2008/layout/LinedList"/>
    <dgm:cxn modelId="{B33150F0-A496-4013-BF28-1044F87BC43D}" type="presParOf" srcId="{EA56207D-19E0-4B18-BA74-C9A3D28627C6}" destId="{94584082-1B29-49A3-A3C2-AB073CD5D3BC}" srcOrd="8" destOrd="0" presId="urn:microsoft.com/office/officeart/2008/layout/LinedList"/>
    <dgm:cxn modelId="{38064494-4F7C-4B9A-8B9E-49557CBF9254}" type="presParOf" srcId="{EA56207D-19E0-4B18-BA74-C9A3D28627C6}" destId="{76BAF47A-6A2E-44CE-A239-BA933643D643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4905745-237D-4B92-9DF7-B518C0EA454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41EBB07-043A-49D2-B5B4-2C305F13AFDE}">
      <dgm:prSet phldrT="[Текст]"/>
      <dgm:spPr/>
      <dgm:t>
        <a:bodyPr/>
        <a:lstStyle/>
        <a:p>
          <a:r>
            <a:rPr lang="ru-RU" dirty="0" smtClean="0"/>
            <a:t>Негативные факторы</a:t>
          </a:r>
        </a:p>
        <a:p>
          <a:endParaRPr lang="ru-RU" dirty="0" smtClean="0"/>
        </a:p>
        <a:p>
          <a:endParaRPr lang="ru-RU" dirty="0"/>
        </a:p>
      </dgm:t>
    </dgm:pt>
    <dgm:pt modelId="{6CF0F807-905C-40FF-B92C-4C403F755817}" type="parTrans" cxnId="{5B68967B-6B03-4E15-8F3F-9D4ECEDFD205}">
      <dgm:prSet/>
      <dgm:spPr/>
      <dgm:t>
        <a:bodyPr/>
        <a:lstStyle/>
        <a:p>
          <a:endParaRPr lang="ru-RU"/>
        </a:p>
      </dgm:t>
    </dgm:pt>
    <dgm:pt modelId="{ECDAAC64-6C91-4264-B455-707B72D12A21}" type="sibTrans" cxnId="{5B68967B-6B03-4E15-8F3F-9D4ECEDFD205}">
      <dgm:prSet/>
      <dgm:spPr/>
      <dgm:t>
        <a:bodyPr/>
        <a:lstStyle/>
        <a:p>
          <a:endParaRPr lang="ru-RU"/>
        </a:p>
      </dgm:t>
    </dgm:pt>
    <dgm:pt modelId="{65E8839A-2237-4DFF-932F-3A6AD3F70069}">
      <dgm:prSet phldrT="[Текст]"/>
      <dgm:spPr/>
      <dgm:t>
        <a:bodyPr/>
        <a:lstStyle/>
        <a:p>
          <a:r>
            <a:rPr lang="ru-RU" dirty="0" smtClean="0"/>
            <a:t>Отсутствие кредитной истории в части обслуживания кредитов</a:t>
          </a:r>
          <a:endParaRPr lang="ru-RU" dirty="0"/>
        </a:p>
      </dgm:t>
    </dgm:pt>
    <dgm:pt modelId="{F28E61C5-7E06-4DF5-AEB1-E8F39633DBCC}" type="parTrans" cxnId="{54A623F1-424F-4468-86E7-767B00275991}">
      <dgm:prSet/>
      <dgm:spPr/>
      <dgm:t>
        <a:bodyPr/>
        <a:lstStyle/>
        <a:p>
          <a:endParaRPr lang="ru-RU"/>
        </a:p>
      </dgm:t>
    </dgm:pt>
    <dgm:pt modelId="{2F015CCB-806D-4D5C-86C8-5ABA416FD2D4}" type="sibTrans" cxnId="{54A623F1-424F-4468-86E7-767B00275991}">
      <dgm:prSet/>
      <dgm:spPr/>
      <dgm:t>
        <a:bodyPr/>
        <a:lstStyle/>
        <a:p>
          <a:endParaRPr lang="ru-RU"/>
        </a:p>
      </dgm:t>
    </dgm:pt>
    <dgm:pt modelId="{CC2FF0DC-F12E-44AD-9EB6-02DF4D31D157}">
      <dgm:prSet phldrT="[Текст]"/>
      <dgm:spPr/>
      <dgm:t>
        <a:bodyPr/>
        <a:lstStyle/>
        <a:p>
          <a:r>
            <a:rPr lang="ru-RU" dirty="0" smtClean="0"/>
            <a:t>Плохая платежная дисциплина (в частности, просрочки по платежам свыше 30 дней)</a:t>
          </a:r>
          <a:endParaRPr lang="ru-RU" dirty="0"/>
        </a:p>
      </dgm:t>
    </dgm:pt>
    <dgm:pt modelId="{68C68428-38FF-4CE8-B183-8C0CF7E05767}" type="parTrans" cxnId="{C6151FE7-872A-47B0-9418-D756F5E31580}">
      <dgm:prSet/>
      <dgm:spPr/>
      <dgm:t>
        <a:bodyPr/>
        <a:lstStyle/>
        <a:p>
          <a:endParaRPr lang="ru-RU"/>
        </a:p>
      </dgm:t>
    </dgm:pt>
    <dgm:pt modelId="{9143EAB5-D556-4CF1-A7EC-9445C6005F32}" type="sibTrans" cxnId="{C6151FE7-872A-47B0-9418-D756F5E31580}">
      <dgm:prSet/>
      <dgm:spPr/>
      <dgm:t>
        <a:bodyPr/>
        <a:lstStyle/>
        <a:p>
          <a:endParaRPr lang="ru-RU"/>
        </a:p>
      </dgm:t>
    </dgm:pt>
    <dgm:pt modelId="{13CE7C55-2FEE-4E3E-A649-2A823752F81F}">
      <dgm:prSet phldrT="[Текст]"/>
      <dgm:spPr/>
      <dgm:t>
        <a:bodyPr/>
        <a:lstStyle/>
        <a:p>
          <a:r>
            <a:rPr lang="ru-RU" dirty="0" smtClean="0"/>
            <a:t>«</a:t>
          </a:r>
          <a:r>
            <a:rPr lang="ru-RU" dirty="0" err="1" smtClean="0"/>
            <a:t>Перекредитовки</a:t>
          </a:r>
          <a:r>
            <a:rPr lang="ru-RU" dirty="0" smtClean="0"/>
            <a:t>» задолженности: практика, при которой погашения по кредитам производятся за счет новых кредитов</a:t>
          </a:r>
          <a:endParaRPr lang="ru-RU" dirty="0"/>
        </a:p>
      </dgm:t>
    </dgm:pt>
    <dgm:pt modelId="{CDD1C4B7-FF8E-43EE-9A8C-A8A2B4FFE083}" type="parTrans" cxnId="{7844910E-6FAC-434D-8CB4-855AEF78C6BC}">
      <dgm:prSet/>
      <dgm:spPr/>
      <dgm:t>
        <a:bodyPr/>
        <a:lstStyle/>
        <a:p>
          <a:endParaRPr lang="ru-RU"/>
        </a:p>
      </dgm:t>
    </dgm:pt>
    <dgm:pt modelId="{C4805069-B6D8-4F1B-B4F8-1C96E8C09C9A}" type="sibTrans" cxnId="{7844910E-6FAC-434D-8CB4-855AEF78C6BC}">
      <dgm:prSet/>
      <dgm:spPr/>
      <dgm:t>
        <a:bodyPr/>
        <a:lstStyle/>
        <a:p>
          <a:endParaRPr lang="ru-RU"/>
        </a:p>
      </dgm:t>
    </dgm:pt>
    <dgm:pt modelId="{A33C0922-1CD4-4B0C-AAC7-6FFF5039A6B4}" type="pres">
      <dgm:prSet presAssocID="{84905745-237D-4B92-9DF7-B518C0EA454B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ED3440A6-A893-4F08-9028-A68C388B8403}" type="pres">
      <dgm:prSet presAssocID="{C41EBB07-043A-49D2-B5B4-2C305F13AFDE}" presName="thickLine" presStyleLbl="alignNode1" presStyleIdx="0" presStyleCnt="1"/>
      <dgm:spPr/>
      <dgm:t>
        <a:bodyPr/>
        <a:lstStyle/>
        <a:p>
          <a:endParaRPr lang="ru-RU"/>
        </a:p>
      </dgm:t>
    </dgm:pt>
    <dgm:pt modelId="{30B9EC67-494D-4257-824C-1AB9B6DBE7DA}" type="pres">
      <dgm:prSet presAssocID="{C41EBB07-043A-49D2-B5B4-2C305F13AFDE}" presName="horz1" presStyleCnt="0"/>
      <dgm:spPr/>
    </dgm:pt>
    <dgm:pt modelId="{14BA54D6-5146-41B1-A595-F04B7B3FF67A}" type="pres">
      <dgm:prSet presAssocID="{C41EBB07-043A-49D2-B5B4-2C305F13AFDE}" presName="tx1" presStyleLbl="revTx" presStyleIdx="0" presStyleCnt="4"/>
      <dgm:spPr/>
      <dgm:t>
        <a:bodyPr/>
        <a:lstStyle/>
        <a:p>
          <a:endParaRPr lang="ru-RU"/>
        </a:p>
      </dgm:t>
    </dgm:pt>
    <dgm:pt modelId="{EA56207D-19E0-4B18-BA74-C9A3D28627C6}" type="pres">
      <dgm:prSet presAssocID="{C41EBB07-043A-49D2-B5B4-2C305F13AFDE}" presName="vert1" presStyleCnt="0"/>
      <dgm:spPr/>
    </dgm:pt>
    <dgm:pt modelId="{4759AE5E-6B25-4339-BE86-F2FA5A113FCD}" type="pres">
      <dgm:prSet presAssocID="{65E8839A-2237-4DFF-932F-3A6AD3F70069}" presName="vertSpace2a" presStyleCnt="0"/>
      <dgm:spPr/>
    </dgm:pt>
    <dgm:pt modelId="{3D4A7175-031F-4920-BBC3-BB61F68C3AB9}" type="pres">
      <dgm:prSet presAssocID="{65E8839A-2237-4DFF-932F-3A6AD3F70069}" presName="horz2" presStyleCnt="0"/>
      <dgm:spPr/>
    </dgm:pt>
    <dgm:pt modelId="{E14BA65F-8559-423B-8646-1B20179E6918}" type="pres">
      <dgm:prSet presAssocID="{65E8839A-2237-4DFF-932F-3A6AD3F70069}" presName="horzSpace2" presStyleCnt="0"/>
      <dgm:spPr/>
    </dgm:pt>
    <dgm:pt modelId="{CBDF9F12-3772-41ED-BD48-85CA0C764E3C}" type="pres">
      <dgm:prSet presAssocID="{65E8839A-2237-4DFF-932F-3A6AD3F70069}" presName="tx2" presStyleLbl="revTx" presStyleIdx="1" presStyleCnt="4"/>
      <dgm:spPr/>
      <dgm:t>
        <a:bodyPr/>
        <a:lstStyle/>
        <a:p>
          <a:endParaRPr lang="ru-RU"/>
        </a:p>
      </dgm:t>
    </dgm:pt>
    <dgm:pt modelId="{5EE249A9-FB2E-4B1A-99A9-6752A9E56C87}" type="pres">
      <dgm:prSet presAssocID="{65E8839A-2237-4DFF-932F-3A6AD3F70069}" presName="vert2" presStyleCnt="0"/>
      <dgm:spPr/>
    </dgm:pt>
    <dgm:pt modelId="{F0F7C186-336D-4499-9060-28DF7B836EA3}" type="pres">
      <dgm:prSet presAssocID="{65E8839A-2237-4DFF-932F-3A6AD3F70069}" presName="thinLine2b" presStyleLbl="callout" presStyleIdx="0" presStyleCnt="3"/>
      <dgm:spPr/>
    </dgm:pt>
    <dgm:pt modelId="{E2EFDF2C-A2E9-42D9-A97B-82ABB9C35A79}" type="pres">
      <dgm:prSet presAssocID="{65E8839A-2237-4DFF-932F-3A6AD3F70069}" presName="vertSpace2b" presStyleCnt="0"/>
      <dgm:spPr/>
    </dgm:pt>
    <dgm:pt modelId="{9625F51C-C5D6-4B04-B32C-B2BA03FEB28D}" type="pres">
      <dgm:prSet presAssocID="{CC2FF0DC-F12E-44AD-9EB6-02DF4D31D157}" presName="horz2" presStyleCnt="0"/>
      <dgm:spPr/>
    </dgm:pt>
    <dgm:pt modelId="{0E60BA32-CA40-43BD-BA27-2F13323B4724}" type="pres">
      <dgm:prSet presAssocID="{CC2FF0DC-F12E-44AD-9EB6-02DF4D31D157}" presName="horzSpace2" presStyleCnt="0"/>
      <dgm:spPr/>
    </dgm:pt>
    <dgm:pt modelId="{599432A8-C701-4D26-957C-D84074CAF5C9}" type="pres">
      <dgm:prSet presAssocID="{CC2FF0DC-F12E-44AD-9EB6-02DF4D31D157}" presName="tx2" presStyleLbl="revTx" presStyleIdx="2" presStyleCnt="4"/>
      <dgm:spPr/>
      <dgm:t>
        <a:bodyPr/>
        <a:lstStyle/>
        <a:p>
          <a:endParaRPr lang="ru-RU"/>
        </a:p>
      </dgm:t>
    </dgm:pt>
    <dgm:pt modelId="{5DFF3DAD-8C02-4C23-B8FD-466C5364102B}" type="pres">
      <dgm:prSet presAssocID="{CC2FF0DC-F12E-44AD-9EB6-02DF4D31D157}" presName="vert2" presStyleCnt="0"/>
      <dgm:spPr/>
    </dgm:pt>
    <dgm:pt modelId="{B4019518-3090-4E0E-8F07-C22691470185}" type="pres">
      <dgm:prSet presAssocID="{CC2FF0DC-F12E-44AD-9EB6-02DF4D31D157}" presName="thinLine2b" presStyleLbl="callout" presStyleIdx="1" presStyleCnt="3"/>
      <dgm:spPr/>
    </dgm:pt>
    <dgm:pt modelId="{F4C30226-3051-47FD-944F-A9E466BB065B}" type="pres">
      <dgm:prSet presAssocID="{CC2FF0DC-F12E-44AD-9EB6-02DF4D31D157}" presName="vertSpace2b" presStyleCnt="0"/>
      <dgm:spPr/>
    </dgm:pt>
    <dgm:pt modelId="{0AD583FF-4E75-4E93-BF29-8ECF5BC875AB}" type="pres">
      <dgm:prSet presAssocID="{13CE7C55-2FEE-4E3E-A649-2A823752F81F}" presName="horz2" presStyleCnt="0"/>
      <dgm:spPr/>
    </dgm:pt>
    <dgm:pt modelId="{65B00FFC-5CFB-4E30-B977-8F26D220EB94}" type="pres">
      <dgm:prSet presAssocID="{13CE7C55-2FEE-4E3E-A649-2A823752F81F}" presName="horzSpace2" presStyleCnt="0"/>
      <dgm:spPr/>
    </dgm:pt>
    <dgm:pt modelId="{7259E3A1-5C39-4844-9B15-144ED3916955}" type="pres">
      <dgm:prSet presAssocID="{13CE7C55-2FEE-4E3E-A649-2A823752F81F}" presName="tx2" presStyleLbl="revTx" presStyleIdx="3" presStyleCnt="4"/>
      <dgm:spPr/>
      <dgm:t>
        <a:bodyPr/>
        <a:lstStyle/>
        <a:p>
          <a:endParaRPr lang="ru-RU"/>
        </a:p>
      </dgm:t>
    </dgm:pt>
    <dgm:pt modelId="{D0AC4CFA-B917-4EAD-BB7B-A4C6F5BCB08E}" type="pres">
      <dgm:prSet presAssocID="{13CE7C55-2FEE-4E3E-A649-2A823752F81F}" presName="vert2" presStyleCnt="0"/>
      <dgm:spPr/>
    </dgm:pt>
    <dgm:pt modelId="{94584082-1B29-49A3-A3C2-AB073CD5D3BC}" type="pres">
      <dgm:prSet presAssocID="{13CE7C55-2FEE-4E3E-A649-2A823752F81F}" presName="thinLine2b" presStyleLbl="callout" presStyleIdx="2" presStyleCnt="3"/>
      <dgm:spPr/>
    </dgm:pt>
    <dgm:pt modelId="{76BAF47A-6A2E-44CE-A239-BA933643D643}" type="pres">
      <dgm:prSet presAssocID="{13CE7C55-2FEE-4E3E-A649-2A823752F81F}" presName="vertSpace2b" presStyleCnt="0"/>
      <dgm:spPr/>
    </dgm:pt>
  </dgm:ptLst>
  <dgm:cxnLst>
    <dgm:cxn modelId="{C6151FE7-872A-47B0-9418-D756F5E31580}" srcId="{C41EBB07-043A-49D2-B5B4-2C305F13AFDE}" destId="{CC2FF0DC-F12E-44AD-9EB6-02DF4D31D157}" srcOrd="1" destOrd="0" parTransId="{68C68428-38FF-4CE8-B183-8C0CF7E05767}" sibTransId="{9143EAB5-D556-4CF1-A7EC-9445C6005F32}"/>
    <dgm:cxn modelId="{E64D8D63-DA9C-4FAF-8CDD-8986BCF31535}" type="presOf" srcId="{CC2FF0DC-F12E-44AD-9EB6-02DF4D31D157}" destId="{599432A8-C701-4D26-957C-D84074CAF5C9}" srcOrd="0" destOrd="0" presId="urn:microsoft.com/office/officeart/2008/layout/LinedList"/>
    <dgm:cxn modelId="{A009CE48-DBF1-4DBC-B85D-EA27C0DD75FB}" type="presOf" srcId="{C41EBB07-043A-49D2-B5B4-2C305F13AFDE}" destId="{14BA54D6-5146-41B1-A595-F04B7B3FF67A}" srcOrd="0" destOrd="0" presId="urn:microsoft.com/office/officeart/2008/layout/LinedList"/>
    <dgm:cxn modelId="{A7BF88D5-1B50-404B-9228-E82B88D84C13}" type="presOf" srcId="{84905745-237D-4B92-9DF7-B518C0EA454B}" destId="{A33C0922-1CD4-4B0C-AAC7-6FFF5039A6B4}" srcOrd="0" destOrd="0" presId="urn:microsoft.com/office/officeart/2008/layout/LinedList"/>
    <dgm:cxn modelId="{7844910E-6FAC-434D-8CB4-855AEF78C6BC}" srcId="{C41EBB07-043A-49D2-B5B4-2C305F13AFDE}" destId="{13CE7C55-2FEE-4E3E-A649-2A823752F81F}" srcOrd="2" destOrd="0" parTransId="{CDD1C4B7-FF8E-43EE-9A8C-A8A2B4FFE083}" sibTransId="{C4805069-B6D8-4F1B-B4F8-1C96E8C09C9A}"/>
    <dgm:cxn modelId="{5B68967B-6B03-4E15-8F3F-9D4ECEDFD205}" srcId="{84905745-237D-4B92-9DF7-B518C0EA454B}" destId="{C41EBB07-043A-49D2-B5B4-2C305F13AFDE}" srcOrd="0" destOrd="0" parTransId="{6CF0F807-905C-40FF-B92C-4C403F755817}" sibTransId="{ECDAAC64-6C91-4264-B455-707B72D12A21}"/>
    <dgm:cxn modelId="{0D83386C-6A3F-452B-8019-9179B9288933}" type="presOf" srcId="{65E8839A-2237-4DFF-932F-3A6AD3F70069}" destId="{CBDF9F12-3772-41ED-BD48-85CA0C764E3C}" srcOrd="0" destOrd="0" presId="urn:microsoft.com/office/officeart/2008/layout/LinedList"/>
    <dgm:cxn modelId="{54A623F1-424F-4468-86E7-767B00275991}" srcId="{C41EBB07-043A-49D2-B5B4-2C305F13AFDE}" destId="{65E8839A-2237-4DFF-932F-3A6AD3F70069}" srcOrd="0" destOrd="0" parTransId="{F28E61C5-7E06-4DF5-AEB1-E8F39633DBCC}" sibTransId="{2F015CCB-806D-4D5C-86C8-5ABA416FD2D4}"/>
    <dgm:cxn modelId="{64BD2E2B-05F6-4A3A-A8D6-6FE27A6D1057}" type="presOf" srcId="{13CE7C55-2FEE-4E3E-A649-2A823752F81F}" destId="{7259E3A1-5C39-4844-9B15-144ED3916955}" srcOrd="0" destOrd="0" presId="urn:microsoft.com/office/officeart/2008/layout/LinedList"/>
    <dgm:cxn modelId="{266E259B-7B43-4A3E-B604-0A4FA36882DC}" type="presParOf" srcId="{A33C0922-1CD4-4B0C-AAC7-6FFF5039A6B4}" destId="{ED3440A6-A893-4F08-9028-A68C388B8403}" srcOrd="0" destOrd="0" presId="urn:microsoft.com/office/officeart/2008/layout/LinedList"/>
    <dgm:cxn modelId="{911F9A5D-AE11-42FE-BB73-1F3ECE1130FE}" type="presParOf" srcId="{A33C0922-1CD4-4B0C-AAC7-6FFF5039A6B4}" destId="{30B9EC67-494D-4257-824C-1AB9B6DBE7DA}" srcOrd="1" destOrd="0" presId="urn:microsoft.com/office/officeart/2008/layout/LinedList"/>
    <dgm:cxn modelId="{CA214981-4329-4168-8A26-40E618C2D7FD}" type="presParOf" srcId="{30B9EC67-494D-4257-824C-1AB9B6DBE7DA}" destId="{14BA54D6-5146-41B1-A595-F04B7B3FF67A}" srcOrd="0" destOrd="0" presId="urn:microsoft.com/office/officeart/2008/layout/LinedList"/>
    <dgm:cxn modelId="{A89EC40B-0030-4CC3-9058-1517297B3FE2}" type="presParOf" srcId="{30B9EC67-494D-4257-824C-1AB9B6DBE7DA}" destId="{EA56207D-19E0-4B18-BA74-C9A3D28627C6}" srcOrd="1" destOrd="0" presId="urn:microsoft.com/office/officeart/2008/layout/LinedList"/>
    <dgm:cxn modelId="{E19792D7-2F9D-4619-B1CA-3F8C72B2A896}" type="presParOf" srcId="{EA56207D-19E0-4B18-BA74-C9A3D28627C6}" destId="{4759AE5E-6B25-4339-BE86-F2FA5A113FCD}" srcOrd="0" destOrd="0" presId="urn:microsoft.com/office/officeart/2008/layout/LinedList"/>
    <dgm:cxn modelId="{E240DB7D-97E0-40BB-A7A2-8FF04A20D8EB}" type="presParOf" srcId="{EA56207D-19E0-4B18-BA74-C9A3D28627C6}" destId="{3D4A7175-031F-4920-BBC3-BB61F68C3AB9}" srcOrd="1" destOrd="0" presId="urn:microsoft.com/office/officeart/2008/layout/LinedList"/>
    <dgm:cxn modelId="{C5B37D6B-52B9-4DCA-8729-E36D41A2CCC8}" type="presParOf" srcId="{3D4A7175-031F-4920-BBC3-BB61F68C3AB9}" destId="{E14BA65F-8559-423B-8646-1B20179E6918}" srcOrd="0" destOrd="0" presId="urn:microsoft.com/office/officeart/2008/layout/LinedList"/>
    <dgm:cxn modelId="{A5883799-3B83-4C65-B5CD-A6F961660F2F}" type="presParOf" srcId="{3D4A7175-031F-4920-BBC3-BB61F68C3AB9}" destId="{CBDF9F12-3772-41ED-BD48-85CA0C764E3C}" srcOrd="1" destOrd="0" presId="urn:microsoft.com/office/officeart/2008/layout/LinedList"/>
    <dgm:cxn modelId="{5EA233A0-B08A-47B6-90F4-56B1E4F58C4E}" type="presParOf" srcId="{3D4A7175-031F-4920-BBC3-BB61F68C3AB9}" destId="{5EE249A9-FB2E-4B1A-99A9-6752A9E56C87}" srcOrd="2" destOrd="0" presId="urn:microsoft.com/office/officeart/2008/layout/LinedList"/>
    <dgm:cxn modelId="{8FD93276-F0FB-4844-8212-05900BFC53BA}" type="presParOf" srcId="{EA56207D-19E0-4B18-BA74-C9A3D28627C6}" destId="{F0F7C186-336D-4499-9060-28DF7B836EA3}" srcOrd="2" destOrd="0" presId="urn:microsoft.com/office/officeart/2008/layout/LinedList"/>
    <dgm:cxn modelId="{59537BBE-1A43-4EE5-B56C-FBD826B23581}" type="presParOf" srcId="{EA56207D-19E0-4B18-BA74-C9A3D28627C6}" destId="{E2EFDF2C-A2E9-42D9-A97B-82ABB9C35A79}" srcOrd="3" destOrd="0" presId="urn:microsoft.com/office/officeart/2008/layout/LinedList"/>
    <dgm:cxn modelId="{F9206A47-71E9-4A94-8AB2-E872E4C8EA82}" type="presParOf" srcId="{EA56207D-19E0-4B18-BA74-C9A3D28627C6}" destId="{9625F51C-C5D6-4B04-B32C-B2BA03FEB28D}" srcOrd="4" destOrd="0" presId="urn:microsoft.com/office/officeart/2008/layout/LinedList"/>
    <dgm:cxn modelId="{DBA58A21-D500-4AC5-9672-C410EE97F806}" type="presParOf" srcId="{9625F51C-C5D6-4B04-B32C-B2BA03FEB28D}" destId="{0E60BA32-CA40-43BD-BA27-2F13323B4724}" srcOrd="0" destOrd="0" presId="urn:microsoft.com/office/officeart/2008/layout/LinedList"/>
    <dgm:cxn modelId="{BCB6E510-C9D3-43E6-A949-331D91B87380}" type="presParOf" srcId="{9625F51C-C5D6-4B04-B32C-B2BA03FEB28D}" destId="{599432A8-C701-4D26-957C-D84074CAF5C9}" srcOrd="1" destOrd="0" presId="urn:microsoft.com/office/officeart/2008/layout/LinedList"/>
    <dgm:cxn modelId="{0245A17F-3CC9-4EF9-B8CA-304932688250}" type="presParOf" srcId="{9625F51C-C5D6-4B04-B32C-B2BA03FEB28D}" destId="{5DFF3DAD-8C02-4C23-B8FD-466C5364102B}" srcOrd="2" destOrd="0" presId="urn:microsoft.com/office/officeart/2008/layout/LinedList"/>
    <dgm:cxn modelId="{8F7F9F5F-6CAB-404E-9F01-C506B9DF7891}" type="presParOf" srcId="{EA56207D-19E0-4B18-BA74-C9A3D28627C6}" destId="{B4019518-3090-4E0E-8F07-C22691470185}" srcOrd="5" destOrd="0" presId="urn:microsoft.com/office/officeart/2008/layout/LinedList"/>
    <dgm:cxn modelId="{5312123D-6241-4BD0-872F-7DFDF6C656DF}" type="presParOf" srcId="{EA56207D-19E0-4B18-BA74-C9A3D28627C6}" destId="{F4C30226-3051-47FD-944F-A9E466BB065B}" srcOrd="6" destOrd="0" presId="urn:microsoft.com/office/officeart/2008/layout/LinedList"/>
    <dgm:cxn modelId="{D6A01969-8E3A-40C8-994A-612C04AEE4BC}" type="presParOf" srcId="{EA56207D-19E0-4B18-BA74-C9A3D28627C6}" destId="{0AD583FF-4E75-4E93-BF29-8ECF5BC875AB}" srcOrd="7" destOrd="0" presId="urn:microsoft.com/office/officeart/2008/layout/LinedList"/>
    <dgm:cxn modelId="{87F55AAA-B899-430F-BD1A-774F10C0E4D7}" type="presParOf" srcId="{0AD583FF-4E75-4E93-BF29-8ECF5BC875AB}" destId="{65B00FFC-5CFB-4E30-B977-8F26D220EB94}" srcOrd="0" destOrd="0" presId="urn:microsoft.com/office/officeart/2008/layout/LinedList"/>
    <dgm:cxn modelId="{C8BA38E6-062E-4A6B-A2BF-7C4C0F3E2AC2}" type="presParOf" srcId="{0AD583FF-4E75-4E93-BF29-8ECF5BC875AB}" destId="{7259E3A1-5C39-4844-9B15-144ED3916955}" srcOrd="1" destOrd="0" presId="urn:microsoft.com/office/officeart/2008/layout/LinedList"/>
    <dgm:cxn modelId="{22DC1871-FA58-4ADA-B99C-A3A9ABDBB0BA}" type="presParOf" srcId="{0AD583FF-4E75-4E93-BF29-8ECF5BC875AB}" destId="{D0AC4CFA-B917-4EAD-BB7B-A4C6F5BCB08E}" srcOrd="2" destOrd="0" presId="urn:microsoft.com/office/officeart/2008/layout/LinedList"/>
    <dgm:cxn modelId="{7B19CDF4-4427-4852-94DA-CC7524FFE280}" type="presParOf" srcId="{EA56207D-19E0-4B18-BA74-C9A3D28627C6}" destId="{94584082-1B29-49A3-A3C2-AB073CD5D3BC}" srcOrd="8" destOrd="0" presId="urn:microsoft.com/office/officeart/2008/layout/LinedList"/>
    <dgm:cxn modelId="{CDCFBA85-841E-49D5-ADAA-006B2F8BDC26}" type="presParOf" srcId="{EA56207D-19E0-4B18-BA74-C9A3D28627C6}" destId="{76BAF47A-6A2E-44CE-A239-BA933643D643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4905745-237D-4B92-9DF7-B518C0EA454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5E8839A-2237-4DFF-932F-3A6AD3F70069}">
      <dgm:prSet phldrT="[Текст]"/>
      <dgm:spPr/>
      <dgm:t>
        <a:bodyPr/>
        <a:lstStyle/>
        <a:p>
          <a:r>
            <a:rPr lang="ru-RU" dirty="0" smtClean="0"/>
            <a:t>Кредитование в </a:t>
          </a:r>
          <a:r>
            <a:rPr lang="ru-RU" dirty="0" err="1" smtClean="0"/>
            <a:t>микрофинансовых</a:t>
          </a:r>
          <a:r>
            <a:rPr lang="ru-RU" dirty="0" smtClean="0"/>
            <a:t> организациях </a:t>
          </a:r>
          <a:endParaRPr lang="ru-RU" dirty="0"/>
        </a:p>
      </dgm:t>
    </dgm:pt>
    <dgm:pt modelId="{F28E61C5-7E06-4DF5-AEB1-E8F39633DBCC}" type="parTrans" cxnId="{54A623F1-424F-4468-86E7-767B00275991}">
      <dgm:prSet/>
      <dgm:spPr/>
      <dgm:t>
        <a:bodyPr/>
        <a:lstStyle/>
        <a:p>
          <a:endParaRPr lang="ru-RU"/>
        </a:p>
      </dgm:t>
    </dgm:pt>
    <dgm:pt modelId="{2F015CCB-806D-4D5C-86C8-5ABA416FD2D4}" type="sibTrans" cxnId="{54A623F1-424F-4468-86E7-767B00275991}">
      <dgm:prSet/>
      <dgm:spPr/>
      <dgm:t>
        <a:bodyPr/>
        <a:lstStyle/>
        <a:p>
          <a:endParaRPr lang="ru-RU"/>
        </a:p>
      </dgm:t>
    </dgm:pt>
    <dgm:pt modelId="{CC2FF0DC-F12E-44AD-9EB6-02DF4D31D157}">
      <dgm:prSet phldrT="[Текст]"/>
      <dgm:spPr/>
      <dgm:t>
        <a:bodyPr/>
        <a:lstStyle/>
        <a:p>
          <a:r>
            <a:rPr lang="ru-RU" dirty="0" smtClean="0"/>
            <a:t>Большое количество уже действующих кредитов (в том числе кредитных карт с использованным лимитом), значительный рост кредитной нагрузки</a:t>
          </a:r>
          <a:endParaRPr lang="ru-RU" dirty="0"/>
        </a:p>
      </dgm:t>
    </dgm:pt>
    <dgm:pt modelId="{68C68428-38FF-4CE8-B183-8C0CF7E05767}" type="parTrans" cxnId="{C6151FE7-872A-47B0-9418-D756F5E31580}">
      <dgm:prSet/>
      <dgm:spPr/>
      <dgm:t>
        <a:bodyPr/>
        <a:lstStyle/>
        <a:p>
          <a:endParaRPr lang="ru-RU"/>
        </a:p>
      </dgm:t>
    </dgm:pt>
    <dgm:pt modelId="{9143EAB5-D556-4CF1-A7EC-9445C6005F32}" type="sibTrans" cxnId="{C6151FE7-872A-47B0-9418-D756F5E31580}">
      <dgm:prSet/>
      <dgm:spPr/>
      <dgm:t>
        <a:bodyPr/>
        <a:lstStyle/>
        <a:p>
          <a:endParaRPr lang="ru-RU"/>
        </a:p>
      </dgm:t>
    </dgm:pt>
    <dgm:pt modelId="{13CE7C55-2FEE-4E3E-A649-2A823752F81F}">
      <dgm:prSet phldrT="[Текст]"/>
      <dgm:spPr/>
      <dgm:t>
        <a:bodyPr/>
        <a:lstStyle/>
        <a:p>
          <a:r>
            <a:rPr lang="ru-RU" dirty="0" smtClean="0"/>
            <a:t>Высокое отношение уже имеющейся кредитной нагрузки к доходам</a:t>
          </a:r>
          <a:endParaRPr lang="ru-RU" dirty="0"/>
        </a:p>
      </dgm:t>
    </dgm:pt>
    <dgm:pt modelId="{CDD1C4B7-FF8E-43EE-9A8C-A8A2B4FFE083}" type="parTrans" cxnId="{7844910E-6FAC-434D-8CB4-855AEF78C6BC}">
      <dgm:prSet/>
      <dgm:spPr/>
      <dgm:t>
        <a:bodyPr/>
        <a:lstStyle/>
        <a:p>
          <a:endParaRPr lang="ru-RU"/>
        </a:p>
      </dgm:t>
    </dgm:pt>
    <dgm:pt modelId="{C4805069-B6D8-4F1B-B4F8-1C96E8C09C9A}" type="sibTrans" cxnId="{7844910E-6FAC-434D-8CB4-855AEF78C6BC}">
      <dgm:prSet/>
      <dgm:spPr/>
      <dgm:t>
        <a:bodyPr/>
        <a:lstStyle/>
        <a:p>
          <a:endParaRPr lang="ru-RU"/>
        </a:p>
      </dgm:t>
    </dgm:pt>
    <dgm:pt modelId="{C41EBB07-043A-49D2-B5B4-2C305F13AFDE}">
      <dgm:prSet phldrT="[Текст]"/>
      <dgm:spPr/>
      <dgm:t>
        <a:bodyPr/>
        <a:lstStyle/>
        <a:p>
          <a:endParaRPr lang="ru-RU" dirty="0"/>
        </a:p>
      </dgm:t>
    </dgm:pt>
    <dgm:pt modelId="{ECDAAC64-6C91-4264-B455-707B72D12A21}" type="sibTrans" cxnId="{5B68967B-6B03-4E15-8F3F-9D4ECEDFD205}">
      <dgm:prSet/>
      <dgm:spPr/>
      <dgm:t>
        <a:bodyPr/>
        <a:lstStyle/>
        <a:p>
          <a:endParaRPr lang="ru-RU"/>
        </a:p>
      </dgm:t>
    </dgm:pt>
    <dgm:pt modelId="{6CF0F807-905C-40FF-B92C-4C403F755817}" type="parTrans" cxnId="{5B68967B-6B03-4E15-8F3F-9D4ECEDFD205}">
      <dgm:prSet/>
      <dgm:spPr/>
      <dgm:t>
        <a:bodyPr/>
        <a:lstStyle/>
        <a:p>
          <a:endParaRPr lang="ru-RU"/>
        </a:p>
      </dgm:t>
    </dgm:pt>
    <dgm:pt modelId="{A33C0922-1CD4-4B0C-AAC7-6FFF5039A6B4}" type="pres">
      <dgm:prSet presAssocID="{84905745-237D-4B92-9DF7-B518C0EA454B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ED3440A6-A893-4F08-9028-A68C388B8403}" type="pres">
      <dgm:prSet presAssocID="{C41EBB07-043A-49D2-B5B4-2C305F13AFDE}" presName="thickLine" presStyleLbl="alignNode1" presStyleIdx="0" presStyleCnt="1"/>
      <dgm:spPr/>
      <dgm:t>
        <a:bodyPr/>
        <a:lstStyle/>
        <a:p>
          <a:endParaRPr lang="ru-RU"/>
        </a:p>
      </dgm:t>
    </dgm:pt>
    <dgm:pt modelId="{30B9EC67-494D-4257-824C-1AB9B6DBE7DA}" type="pres">
      <dgm:prSet presAssocID="{C41EBB07-043A-49D2-B5B4-2C305F13AFDE}" presName="horz1" presStyleCnt="0"/>
      <dgm:spPr/>
    </dgm:pt>
    <dgm:pt modelId="{14BA54D6-5146-41B1-A595-F04B7B3FF67A}" type="pres">
      <dgm:prSet presAssocID="{C41EBB07-043A-49D2-B5B4-2C305F13AFDE}" presName="tx1" presStyleLbl="revTx" presStyleIdx="0" presStyleCnt="4"/>
      <dgm:spPr/>
      <dgm:t>
        <a:bodyPr/>
        <a:lstStyle/>
        <a:p>
          <a:endParaRPr lang="ru-RU"/>
        </a:p>
      </dgm:t>
    </dgm:pt>
    <dgm:pt modelId="{EA56207D-19E0-4B18-BA74-C9A3D28627C6}" type="pres">
      <dgm:prSet presAssocID="{C41EBB07-043A-49D2-B5B4-2C305F13AFDE}" presName="vert1" presStyleCnt="0"/>
      <dgm:spPr/>
    </dgm:pt>
    <dgm:pt modelId="{4759AE5E-6B25-4339-BE86-F2FA5A113FCD}" type="pres">
      <dgm:prSet presAssocID="{65E8839A-2237-4DFF-932F-3A6AD3F70069}" presName="vertSpace2a" presStyleCnt="0"/>
      <dgm:spPr/>
    </dgm:pt>
    <dgm:pt modelId="{3D4A7175-031F-4920-BBC3-BB61F68C3AB9}" type="pres">
      <dgm:prSet presAssocID="{65E8839A-2237-4DFF-932F-3A6AD3F70069}" presName="horz2" presStyleCnt="0"/>
      <dgm:spPr/>
    </dgm:pt>
    <dgm:pt modelId="{E14BA65F-8559-423B-8646-1B20179E6918}" type="pres">
      <dgm:prSet presAssocID="{65E8839A-2237-4DFF-932F-3A6AD3F70069}" presName="horzSpace2" presStyleCnt="0"/>
      <dgm:spPr/>
    </dgm:pt>
    <dgm:pt modelId="{CBDF9F12-3772-41ED-BD48-85CA0C764E3C}" type="pres">
      <dgm:prSet presAssocID="{65E8839A-2237-4DFF-932F-3A6AD3F70069}" presName="tx2" presStyleLbl="revTx" presStyleIdx="1" presStyleCnt="4"/>
      <dgm:spPr/>
      <dgm:t>
        <a:bodyPr/>
        <a:lstStyle/>
        <a:p>
          <a:endParaRPr lang="ru-RU"/>
        </a:p>
      </dgm:t>
    </dgm:pt>
    <dgm:pt modelId="{5EE249A9-FB2E-4B1A-99A9-6752A9E56C87}" type="pres">
      <dgm:prSet presAssocID="{65E8839A-2237-4DFF-932F-3A6AD3F70069}" presName="vert2" presStyleCnt="0"/>
      <dgm:spPr/>
    </dgm:pt>
    <dgm:pt modelId="{F0F7C186-336D-4499-9060-28DF7B836EA3}" type="pres">
      <dgm:prSet presAssocID="{65E8839A-2237-4DFF-932F-3A6AD3F70069}" presName="thinLine2b" presStyleLbl="callout" presStyleIdx="0" presStyleCnt="3"/>
      <dgm:spPr/>
    </dgm:pt>
    <dgm:pt modelId="{E2EFDF2C-A2E9-42D9-A97B-82ABB9C35A79}" type="pres">
      <dgm:prSet presAssocID="{65E8839A-2237-4DFF-932F-3A6AD3F70069}" presName="vertSpace2b" presStyleCnt="0"/>
      <dgm:spPr/>
    </dgm:pt>
    <dgm:pt modelId="{9625F51C-C5D6-4B04-B32C-B2BA03FEB28D}" type="pres">
      <dgm:prSet presAssocID="{CC2FF0DC-F12E-44AD-9EB6-02DF4D31D157}" presName="horz2" presStyleCnt="0"/>
      <dgm:spPr/>
    </dgm:pt>
    <dgm:pt modelId="{0E60BA32-CA40-43BD-BA27-2F13323B4724}" type="pres">
      <dgm:prSet presAssocID="{CC2FF0DC-F12E-44AD-9EB6-02DF4D31D157}" presName="horzSpace2" presStyleCnt="0"/>
      <dgm:spPr/>
    </dgm:pt>
    <dgm:pt modelId="{599432A8-C701-4D26-957C-D84074CAF5C9}" type="pres">
      <dgm:prSet presAssocID="{CC2FF0DC-F12E-44AD-9EB6-02DF4D31D157}" presName="tx2" presStyleLbl="revTx" presStyleIdx="2" presStyleCnt="4"/>
      <dgm:spPr/>
      <dgm:t>
        <a:bodyPr/>
        <a:lstStyle/>
        <a:p>
          <a:endParaRPr lang="ru-RU"/>
        </a:p>
      </dgm:t>
    </dgm:pt>
    <dgm:pt modelId="{5DFF3DAD-8C02-4C23-B8FD-466C5364102B}" type="pres">
      <dgm:prSet presAssocID="{CC2FF0DC-F12E-44AD-9EB6-02DF4D31D157}" presName="vert2" presStyleCnt="0"/>
      <dgm:spPr/>
    </dgm:pt>
    <dgm:pt modelId="{B4019518-3090-4E0E-8F07-C22691470185}" type="pres">
      <dgm:prSet presAssocID="{CC2FF0DC-F12E-44AD-9EB6-02DF4D31D157}" presName="thinLine2b" presStyleLbl="callout" presStyleIdx="1" presStyleCnt="3"/>
      <dgm:spPr/>
    </dgm:pt>
    <dgm:pt modelId="{F4C30226-3051-47FD-944F-A9E466BB065B}" type="pres">
      <dgm:prSet presAssocID="{CC2FF0DC-F12E-44AD-9EB6-02DF4D31D157}" presName="vertSpace2b" presStyleCnt="0"/>
      <dgm:spPr/>
    </dgm:pt>
    <dgm:pt modelId="{0AD583FF-4E75-4E93-BF29-8ECF5BC875AB}" type="pres">
      <dgm:prSet presAssocID="{13CE7C55-2FEE-4E3E-A649-2A823752F81F}" presName="horz2" presStyleCnt="0"/>
      <dgm:spPr/>
    </dgm:pt>
    <dgm:pt modelId="{65B00FFC-5CFB-4E30-B977-8F26D220EB94}" type="pres">
      <dgm:prSet presAssocID="{13CE7C55-2FEE-4E3E-A649-2A823752F81F}" presName="horzSpace2" presStyleCnt="0"/>
      <dgm:spPr/>
    </dgm:pt>
    <dgm:pt modelId="{7259E3A1-5C39-4844-9B15-144ED3916955}" type="pres">
      <dgm:prSet presAssocID="{13CE7C55-2FEE-4E3E-A649-2A823752F81F}" presName="tx2" presStyleLbl="revTx" presStyleIdx="3" presStyleCnt="4"/>
      <dgm:spPr/>
      <dgm:t>
        <a:bodyPr/>
        <a:lstStyle/>
        <a:p>
          <a:endParaRPr lang="ru-RU"/>
        </a:p>
      </dgm:t>
    </dgm:pt>
    <dgm:pt modelId="{D0AC4CFA-B917-4EAD-BB7B-A4C6F5BCB08E}" type="pres">
      <dgm:prSet presAssocID="{13CE7C55-2FEE-4E3E-A649-2A823752F81F}" presName="vert2" presStyleCnt="0"/>
      <dgm:spPr/>
    </dgm:pt>
    <dgm:pt modelId="{94584082-1B29-49A3-A3C2-AB073CD5D3BC}" type="pres">
      <dgm:prSet presAssocID="{13CE7C55-2FEE-4E3E-A649-2A823752F81F}" presName="thinLine2b" presStyleLbl="callout" presStyleIdx="2" presStyleCnt="3"/>
      <dgm:spPr/>
    </dgm:pt>
    <dgm:pt modelId="{76BAF47A-6A2E-44CE-A239-BA933643D643}" type="pres">
      <dgm:prSet presAssocID="{13CE7C55-2FEE-4E3E-A649-2A823752F81F}" presName="vertSpace2b" presStyleCnt="0"/>
      <dgm:spPr/>
    </dgm:pt>
  </dgm:ptLst>
  <dgm:cxnLst>
    <dgm:cxn modelId="{C6151FE7-872A-47B0-9418-D756F5E31580}" srcId="{C41EBB07-043A-49D2-B5B4-2C305F13AFDE}" destId="{CC2FF0DC-F12E-44AD-9EB6-02DF4D31D157}" srcOrd="1" destOrd="0" parTransId="{68C68428-38FF-4CE8-B183-8C0CF7E05767}" sibTransId="{9143EAB5-D556-4CF1-A7EC-9445C6005F32}"/>
    <dgm:cxn modelId="{8A5DE826-1654-46D8-B6B8-1EA3D784C52C}" type="presOf" srcId="{C41EBB07-043A-49D2-B5B4-2C305F13AFDE}" destId="{14BA54D6-5146-41B1-A595-F04B7B3FF67A}" srcOrd="0" destOrd="0" presId="urn:microsoft.com/office/officeart/2008/layout/LinedList"/>
    <dgm:cxn modelId="{D4C5530C-4106-4761-900C-37A51B7FB073}" type="presOf" srcId="{13CE7C55-2FEE-4E3E-A649-2A823752F81F}" destId="{7259E3A1-5C39-4844-9B15-144ED3916955}" srcOrd="0" destOrd="0" presId="urn:microsoft.com/office/officeart/2008/layout/LinedList"/>
    <dgm:cxn modelId="{D1CC397E-1FDC-4E0A-A2DC-D159F04CA25E}" type="presOf" srcId="{65E8839A-2237-4DFF-932F-3A6AD3F70069}" destId="{CBDF9F12-3772-41ED-BD48-85CA0C764E3C}" srcOrd="0" destOrd="0" presId="urn:microsoft.com/office/officeart/2008/layout/LinedList"/>
    <dgm:cxn modelId="{7844910E-6FAC-434D-8CB4-855AEF78C6BC}" srcId="{C41EBB07-043A-49D2-B5B4-2C305F13AFDE}" destId="{13CE7C55-2FEE-4E3E-A649-2A823752F81F}" srcOrd="2" destOrd="0" parTransId="{CDD1C4B7-FF8E-43EE-9A8C-A8A2B4FFE083}" sibTransId="{C4805069-B6D8-4F1B-B4F8-1C96E8C09C9A}"/>
    <dgm:cxn modelId="{94FE4D5A-0BBE-451D-A70E-12980C926C9A}" type="presOf" srcId="{84905745-237D-4B92-9DF7-B518C0EA454B}" destId="{A33C0922-1CD4-4B0C-AAC7-6FFF5039A6B4}" srcOrd="0" destOrd="0" presId="urn:microsoft.com/office/officeart/2008/layout/LinedList"/>
    <dgm:cxn modelId="{5B68967B-6B03-4E15-8F3F-9D4ECEDFD205}" srcId="{84905745-237D-4B92-9DF7-B518C0EA454B}" destId="{C41EBB07-043A-49D2-B5B4-2C305F13AFDE}" srcOrd="0" destOrd="0" parTransId="{6CF0F807-905C-40FF-B92C-4C403F755817}" sibTransId="{ECDAAC64-6C91-4264-B455-707B72D12A21}"/>
    <dgm:cxn modelId="{54A623F1-424F-4468-86E7-767B00275991}" srcId="{C41EBB07-043A-49D2-B5B4-2C305F13AFDE}" destId="{65E8839A-2237-4DFF-932F-3A6AD3F70069}" srcOrd="0" destOrd="0" parTransId="{F28E61C5-7E06-4DF5-AEB1-E8F39633DBCC}" sibTransId="{2F015CCB-806D-4D5C-86C8-5ABA416FD2D4}"/>
    <dgm:cxn modelId="{7945221A-3880-4323-9CD0-6E99AB3B1D3E}" type="presOf" srcId="{CC2FF0DC-F12E-44AD-9EB6-02DF4D31D157}" destId="{599432A8-C701-4D26-957C-D84074CAF5C9}" srcOrd="0" destOrd="0" presId="urn:microsoft.com/office/officeart/2008/layout/LinedList"/>
    <dgm:cxn modelId="{D84AD06F-87A4-493D-9061-F6D9F763DAA2}" type="presParOf" srcId="{A33C0922-1CD4-4B0C-AAC7-6FFF5039A6B4}" destId="{ED3440A6-A893-4F08-9028-A68C388B8403}" srcOrd="0" destOrd="0" presId="urn:microsoft.com/office/officeart/2008/layout/LinedList"/>
    <dgm:cxn modelId="{7C261544-86F6-4FF1-AD04-EC6C31D931AA}" type="presParOf" srcId="{A33C0922-1CD4-4B0C-AAC7-6FFF5039A6B4}" destId="{30B9EC67-494D-4257-824C-1AB9B6DBE7DA}" srcOrd="1" destOrd="0" presId="urn:microsoft.com/office/officeart/2008/layout/LinedList"/>
    <dgm:cxn modelId="{A5F50640-C9AA-437E-945B-DAD38B76E545}" type="presParOf" srcId="{30B9EC67-494D-4257-824C-1AB9B6DBE7DA}" destId="{14BA54D6-5146-41B1-A595-F04B7B3FF67A}" srcOrd="0" destOrd="0" presId="urn:microsoft.com/office/officeart/2008/layout/LinedList"/>
    <dgm:cxn modelId="{F68B2474-A88C-4E12-AF62-1FEEEEEE80E4}" type="presParOf" srcId="{30B9EC67-494D-4257-824C-1AB9B6DBE7DA}" destId="{EA56207D-19E0-4B18-BA74-C9A3D28627C6}" srcOrd="1" destOrd="0" presId="urn:microsoft.com/office/officeart/2008/layout/LinedList"/>
    <dgm:cxn modelId="{55DC68E0-C6E6-4A31-AE6D-9327AB822BE8}" type="presParOf" srcId="{EA56207D-19E0-4B18-BA74-C9A3D28627C6}" destId="{4759AE5E-6B25-4339-BE86-F2FA5A113FCD}" srcOrd="0" destOrd="0" presId="urn:microsoft.com/office/officeart/2008/layout/LinedList"/>
    <dgm:cxn modelId="{E2E189E8-FF98-47C0-979C-095EE722BE04}" type="presParOf" srcId="{EA56207D-19E0-4B18-BA74-C9A3D28627C6}" destId="{3D4A7175-031F-4920-BBC3-BB61F68C3AB9}" srcOrd="1" destOrd="0" presId="urn:microsoft.com/office/officeart/2008/layout/LinedList"/>
    <dgm:cxn modelId="{9ABEDD60-ABDE-43E5-8652-35E92BD61ECF}" type="presParOf" srcId="{3D4A7175-031F-4920-BBC3-BB61F68C3AB9}" destId="{E14BA65F-8559-423B-8646-1B20179E6918}" srcOrd="0" destOrd="0" presId="urn:microsoft.com/office/officeart/2008/layout/LinedList"/>
    <dgm:cxn modelId="{6D737D84-CB5D-4509-A69A-36E8C3E4BEE6}" type="presParOf" srcId="{3D4A7175-031F-4920-BBC3-BB61F68C3AB9}" destId="{CBDF9F12-3772-41ED-BD48-85CA0C764E3C}" srcOrd="1" destOrd="0" presId="urn:microsoft.com/office/officeart/2008/layout/LinedList"/>
    <dgm:cxn modelId="{629D8F7D-9BC1-49D1-A4D9-D314FD44672C}" type="presParOf" srcId="{3D4A7175-031F-4920-BBC3-BB61F68C3AB9}" destId="{5EE249A9-FB2E-4B1A-99A9-6752A9E56C87}" srcOrd="2" destOrd="0" presId="urn:microsoft.com/office/officeart/2008/layout/LinedList"/>
    <dgm:cxn modelId="{7771C026-B46B-40AE-8E14-9B1BF75A8BAF}" type="presParOf" srcId="{EA56207D-19E0-4B18-BA74-C9A3D28627C6}" destId="{F0F7C186-336D-4499-9060-28DF7B836EA3}" srcOrd="2" destOrd="0" presId="urn:microsoft.com/office/officeart/2008/layout/LinedList"/>
    <dgm:cxn modelId="{C9F13C01-BD16-4DA1-913D-87BA0F302BB0}" type="presParOf" srcId="{EA56207D-19E0-4B18-BA74-C9A3D28627C6}" destId="{E2EFDF2C-A2E9-42D9-A97B-82ABB9C35A79}" srcOrd="3" destOrd="0" presId="urn:microsoft.com/office/officeart/2008/layout/LinedList"/>
    <dgm:cxn modelId="{D74D2256-3AB3-4B2B-82FC-C68FB14DFBB5}" type="presParOf" srcId="{EA56207D-19E0-4B18-BA74-C9A3D28627C6}" destId="{9625F51C-C5D6-4B04-B32C-B2BA03FEB28D}" srcOrd="4" destOrd="0" presId="urn:microsoft.com/office/officeart/2008/layout/LinedList"/>
    <dgm:cxn modelId="{340D8B2A-B345-4989-8AE8-0AE7B5011034}" type="presParOf" srcId="{9625F51C-C5D6-4B04-B32C-B2BA03FEB28D}" destId="{0E60BA32-CA40-43BD-BA27-2F13323B4724}" srcOrd="0" destOrd="0" presId="urn:microsoft.com/office/officeart/2008/layout/LinedList"/>
    <dgm:cxn modelId="{31C910D0-3871-4B82-9433-23C27400BCC4}" type="presParOf" srcId="{9625F51C-C5D6-4B04-B32C-B2BA03FEB28D}" destId="{599432A8-C701-4D26-957C-D84074CAF5C9}" srcOrd="1" destOrd="0" presId="urn:microsoft.com/office/officeart/2008/layout/LinedList"/>
    <dgm:cxn modelId="{5888462B-9E67-44C7-AB17-FB26B5BC3083}" type="presParOf" srcId="{9625F51C-C5D6-4B04-B32C-B2BA03FEB28D}" destId="{5DFF3DAD-8C02-4C23-B8FD-466C5364102B}" srcOrd="2" destOrd="0" presId="urn:microsoft.com/office/officeart/2008/layout/LinedList"/>
    <dgm:cxn modelId="{87FA4B12-1B02-4EBA-8E0E-42E50D503B29}" type="presParOf" srcId="{EA56207D-19E0-4B18-BA74-C9A3D28627C6}" destId="{B4019518-3090-4E0E-8F07-C22691470185}" srcOrd="5" destOrd="0" presId="urn:microsoft.com/office/officeart/2008/layout/LinedList"/>
    <dgm:cxn modelId="{6B4F484E-6EB3-4E31-B752-729B76F89C1E}" type="presParOf" srcId="{EA56207D-19E0-4B18-BA74-C9A3D28627C6}" destId="{F4C30226-3051-47FD-944F-A9E466BB065B}" srcOrd="6" destOrd="0" presId="urn:microsoft.com/office/officeart/2008/layout/LinedList"/>
    <dgm:cxn modelId="{5298087F-02FE-434B-B960-CEB576D73782}" type="presParOf" srcId="{EA56207D-19E0-4B18-BA74-C9A3D28627C6}" destId="{0AD583FF-4E75-4E93-BF29-8ECF5BC875AB}" srcOrd="7" destOrd="0" presId="urn:microsoft.com/office/officeart/2008/layout/LinedList"/>
    <dgm:cxn modelId="{C8772C91-A0DA-47CD-AC57-7438DFF9626E}" type="presParOf" srcId="{0AD583FF-4E75-4E93-BF29-8ECF5BC875AB}" destId="{65B00FFC-5CFB-4E30-B977-8F26D220EB94}" srcOrd="0" destOrd="0" presId="urn:microsoft.com/office/officeart/2008/layout/LinedList"/>
    <dgm:cxn modelId="{AFB82CA5-A7A9-483C-B951-6DC447930D5A}" type="presParOf" srcId="{0AD583FF-4E75-4E93-BF29-8ECF5BC875AB}" destId="{7259E3A1-5C39-4844-9B15-144ED3916955}" srcOrd="1" destOrd="0" presId="urn:microsoft.com/office/officeart/2008/layout/LinedList"/>
    <dgm:cxn modelId="{6CEA78F4-3D01-44DE-BE06-80436FB73D59}" type="presParOf" srcId="{0AD583FF-4E75-4E93-BF29-8ECF5BC875AB}" destId="{D0AC4CFA-B917-4EAD-BB7B-A4C6F5BCB08E}" srcOrd="2" destOrd="0" presId="urn:microsoft.com/office/officeart/2008/layout/LinedList"/>
    <dgm:cxn modelId="{E8A6D27C-A0EB-499A-9697-A31AC90463B4}" type="presParOf" srcId="{EA56207D-19E0-4B18-BA74-C9A3D28627C6}" destId="{94584082-1B29-49A3-A3C2-AB073CD5D3BC}" srcOrd="8" destOrd="0" presId="urn:microsoft.com/office/officeart/2008/layout/LinedList"/>
    <dgm:cxn modelId="{0FEDF57F-7BA7-4F79-B79C-8AE0FE93B4B4}" type="presParOf" srcId="{EA56207D-19E0-4B18-BA74-C9A3D28627C6}" destId="{76BAF47A-6A2E-44CE-A239-BA933643D643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4905745-237D-4B92-9DF7-B518C0EA454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41EBB07-043A-49D2-B5B4-2C305F13AFDE}">
      <dgm:prSet phldrT="[Текст]"/>
      <dgm:spPr/>
      <dgm:t>
        <a:bodyPr/>
        <a:lstStyle/>
        <a:p>
          <a:endParaRPr lang="ru-RU" dirty="0"/>
        </a:p>
      </dgm:t>
    </dgm:pt>
    <dgm:pt modelId="{6CF0F807-905C-40FF-B92C-4C403F755817}" type="parTrans" cxnId="{5B68967B-6B03-4E15-8F3F-9D4ECEDFD205}">
      <dgm:prSet/>
      <dgm:spPr/>
      <dgm:t>
        <a:bodyPr/>
        <a:lstStyle/>
        <a:p>
          <a:endParaRPr lang="ru-RU"/>
        </a:p>
      </dgm:t>
    </dgm:pt>
    <dgm:pt modelId="{ECDAAC64-6C91-4264-B455-707B72D12A21}" type="sibTrans" cxnId="{5B68967B-6B03-4E15-8F3F-9D4ECEDFD205}">
      <dgm:prSet/>
      <dgm:spPr/>
      <dgm:t>
        <a:bodyPr/>
        <a:lstStyle/>
        <a:p>
          <a:endParaRPr lang="ru-RU"/>
        </a:p>
      </dgm:t>
    </dgm:pt>
    <dgm:pt modelId="{65E8839A-2237-4DFF-932F-3A6AD3F70069}">
      <dgm:prSet phldrT="[Текст]"/>
      <dgm:spPr/>
      <dgm:t>
        <a:bodyPr/>
        <a:lstStyle/>
        <a:p>
          <a:r>
            <a:rPr lang="ru-RU" dirty="0" smtClean="0"/>
            <a:t>Соответствие запрашиваемой суммы кредита той нагрузке, которую заемщик успешно обслуживал в прошлом</a:t>
          </a:r>
          <a:endParaRPr lang="ru-RU" dirty="0"/>
        </a:p>
      </dgm:t>
    </dgm:pt>
    <dgm:pt modelId="{F28E61C5-7E06-4DF5-AEB1-E8F39633DBCC}" type="parTrans" cxnId="{54A623F1-424F-4468-86E7-767B00275991}">
      <dgm:prSet/>
      <dgm:spPr/>
      <dgm:t>
        <a:bodyPr/>
        <a:lstStyle/>
        <a:p>
          <a:endParaRPr lang="ru-RU"/>
        </a:p>
      </dgm:t>
    </dgm:pt>
    <dgm:pt modelId="{2F015CCB-806D-4D5C-86C8-5ABA416FD2D4}" type="sibTrans" cxnId="{54A623F1-424F-4468-86E7-767B00275991}">
      <dgm:prSet/>
      <dgm:spPr/>
      <dgm:t>
        <a:bodyPr/>
        <a:lstStyle/>
        <a:p>
          <a:endParaRPr lang="ru-RU"/>
        </a:p>
      </dgm:t>
    </dgm:pt>
    <dgm:pt modelId="{CC2FF0DC-F12E-44AD-9EB6-02DF4D31D157}">
      <dgm:prSet phldrT="[Текст]"/>
      <dgm:spPr/>
      <dgm:t>
        <a:bodyPr/>
        <a:lstStyle/>
        <a:p>
          <a:endParaRPr lang="ru-RU" dirty="0"/>
        </a:p>
      </dgm:t>
    </dgm:pt>
    <dgm:pt modelId="{68C68428-38FF-4CE8-B183-8C0CF7E05767}" type="parTrans" cxnId="{C6151FE7-872A-47B0-9418-D756F5E31580}">
      <dgm:prSet/>
      <dgm:spPr/>
      <dgm:t>
        <a:bodyPr/>
        <a:lstStyle/>
        <a:p>
          <a:endParaRPr lang="ru-RU"/>
        </a:p>
      </dgm:t>
    </dgm:pt>
    <dgm:pt modelId="{9143EAB5-D556-4CF1-A7EC-9445C6005F32}" type="sibTrans" cxnId="{C6151FE7-872A-47B0-9418-D756F5E31580}">
      <dgm:prSet/>
      <dgm:spPr/>
      <dgm:t>
        <a:bodyPr/>
        <a:lstStyle/>
        <a:p>
          <a:endParaRPr lang="ru-RU"/>
        </a:p>
      </dgm:t>
    </dgm:pt>
    <dgm:pt modelId="{13CE7C55-2FEE-4E3E-A649-2A823752F81F}">
      <dgm:prSet phldrT="[Текст]"/>
      <dgm:spPr/>
      <dgm:t>
        <a:bodyPr/>
        <a:lstStyle/>
        <a:p>
          <a:endParaRPr lang="ru-RU" dirty="0"/>
        </a:p>
      </dgm:t>
    </dgm:pt>
    <dgm:pt modelId="{CDD1C4B7-FF8E-43EE-9A8C-A8A2B4FFE083}" type="parTrans" cxnId="{7844910E-6FAC-434D-8CB4-855AEF78C6BC}">
      <dgm:prSet/>
      <dgm:spPr/>
      <dgm:t>
        <a:bodyPr/>
        <a:lstStyle/>
        <a:p>
          <a:endParaRPr lang="ru-RU"/>
        </a:p>
      </dgm:t>
    </dgm:pt>
    <dgm:pt modelId="{C4805069-B6D8-4F1B-B4F8-1C96E8C09C9A}" type="sibTrans" cxnId="{7844910E-6FAC-434D-8CB4-855AEF78C6BC}">
      <dgm:prSet/>
      <dgm:spPr/>
      <dgm:t>
        <a:bodyPr/>
        <a:lstStyle/>
        <a:p>
          <a:endParaRPr lang="ru-RU"/>
        </a:p>
      </dgm:t>
    </dgm:pt>
    <dgm:pt modelId="{A33C0922-1CD4-4B0C-AAC7-6FFF5039A6B4}" type="pres">
      <dgm:prSet presAssocID="{84905745-237D-4B92-9DF7-B518C0EA454B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ED3440A6-A893-4F08-9028-A68C388B8403}" type="pres">
      <dgm:prSet presAssocID="{C41EBB07-043A-49D2-B5B4-2C305F13AFDE}" presName="thickLine" presStyleLbl="alignNode1" presStyleIdx="0" presStyleCnt="1"/>
      <dgm:spPr/>
    </dgm:pt>
    <dgm:pt modelId="{30B9EC67-494D-4257-824C-1AB9B6DBE7DA}" type="pres">
      <dgm:prSet presAssocID="{C41EBB07-043A-49D2-B5B4-2C305F13AFDE}" presName="horz1" presStyleCnt="0"/>
      <dgm:spPr/>
    </dgm:pt>
    <dgm:pt modelId="{14BA54D6-5146-41B1-A595-F04B7B3FF67A}" type="pres">
      <dgm:prSet presAssocID="{C41EBB07-043A-49D2-B5B4-2C305F13AFDE}" presName="tx1" presStyleLbl="revTx" presStyleIdx="0" presStyleCnt="4"/>
      <dgm:spPr/>
      <dgm:t>
        <a:bodyPr/>
        <a:lstStyle/>
        <a:p>
          <a:endParaRPr lang="ru-RU"/>
        </a:p>
      </dgm:t>
    </dgm:pt>
    <dgm:pt modelId="{EA56207D-19E0-4B18-BA74-C9A3D28627C6}" type="pres">
      <dgm:prSet presAssocID="{C41EBB07-043A-49D2-B5B4-2C305F13AFDE}" presName="vert1" presStyleCnt="0"/>
      <dgm:spPr/>
    </dgm:pt>
    <dgm:pt modelId="{4759AE5E-6B25-4339-BE86-F2FA5A113FCD}" type="pres">
      <dgm:prSet presAssocID="{65E8839A-2237-4DFF-932F-3A6AD3F70069}" presName="vertSpace2a" presStyleCnt="0"/>
      <dgm:spPr/>
    </dgm:pt>
    <dgm:pt modelId="{3D4A7175-031F-4920-BBC3-BB61F68C3AB9}" type="pres">
      <dgm:prSet presAssocID="{65E8839A-2237-4DFF-932F-3A6AD3F70069}" presName="horz2" presStyleCnt="0"/>
      <dgm:spPr/>
    </dgm:pt>
    <dgm:pt modelId="{E14BA65F-8559-423B-8646-1B20179E6918}" type="pres">
      <dgm:prSet presAssocID="{65E8839A-2237-4DFF-932F-3A6AD3F70069}" presName="horzSpace2" presStyleCnt="0"/>
      <dgm:spPr/>
    </dgm:pt>
    <dgm:pt modelId="{CBDF9F12-3772-41ED-BD48-85CA0C764E3C}" type="pres">
      <dgm:prSet presAssocID="{65E8839A-2237-4DFF-932F-3A6AD3F70069}" presName="tx2" presStyleLbl="revTx" presStyleIdx="1" presStyleCnt="4"/>
      <dgm:spPr/>
      <dgm:t>
        <a:bodyPr/>
        <a:lstStyle/>
        <a:p>
          <a:endParaRPr lang="ru-RU"/>
        </a:p>
      </dgm:t>
    </dgm:pt>
    <dgm:pt modelId="{5EE249A9-FB2E-4B1A-99A9-6752A9E56C87}" type="pres">
      <dgm:prSet presAssocID="{65E8839A-2237-4DFF-932F-3A6AD3F70069}" presName="vert2" presStyleCnt="0"/>
      <dgm:spPr/>
    </dgm:pt>
    <dgm:pt modelId="{F0F7C186-336D-4499-9060-28DF7B836EA3}" type="pres">
      <dgm:prSet presAssocID="{65E8839A-2237-4DFF-932F-3A6AD3F70069}" presName="thinLine2b" presStyleLbl="callout" presStyleIdx="0" presStyleCnt="3"/>
      <dgm:spPr/>
    </dgm:pt>
    <dgm:pt modelId="{E2EFDF2C-A2E9-42D9-A97B-82ABB9C35A79}" type="pres">
      <dgm:prSet presAssocID="{65E8839A-2237-4DFF-932F-3A6AD3F70069}" presName="vertSpace2b" presStyleCnt="0"/>
      <dgm:spPr/>
    </dgm:pt>
    <dgm:pt modelId="{9625F51C-C5D6-4B04-B32C-B2BA03FEB28D}" type="pres">
      <dgm:prSet presAssocID="{CC2FF0DC-F12E-44AD-9EB6-02DF4D31D157}" presName="horz2" presStyleCnt="0"/>
      <dgm:spPr/>
    </dgm:pt>
    <dgm:pt modelId="{0E60BA32-CA40-43BD-BA27-2F13323B4724}" type="pres">
      <dgm:prSet presAssocID="{CC2FF0DC-F12E-44AD-9EB6-02DF4D31D157}" presName="horzSpace2" presStyleCnt="0"/>
      <dgm:spPr/>
    </dgm:pt>
    <dgm:pt modelId="{599432A8-C701-4D26-957C-D84074CAF5C9}" type="pres">
      <dgm:prSet presAssocID="{CC2FF0DC-F12E-44AD-9EB6-02DF4D31D157}" presName="tx2" presStyleLbl="revTx" presStyleIdx="2" presStyleCnt="4"/>
      <dgm:spPr/>
      <dgm:t>
        <a:bodyPr/>
        <a:lstStyle/>
        <a:p>
          <a:endParaRPr lang="ru-RU"/>
        </a:p>
      </dgm:t>
    </dgm:pt>
    <dgm:pt modelId="{5DFF3DAD-8C02-4C23-B8FD-466C5364102B}" type="pres">
      <dgm:prSet presAssocID="{CC2FF0DC-F12E-44AD-9EB6-02DF4D31D157}" presName="vert2" presStyleCnt="0"/>
      <dgm:spPr/>
    </dgm:pt>
    <dgm:pt modelId="{B4019518-3090-4E0E-8F07-C22691470185}" type="pres">
      <dgm:prSet presAssocID="{CC2FF0DC-F12E-44AD-9EB6-02DF4D31D157}" presName="thinLine2b" presStyleLbl="callout" presStyleIdx="1" presStyleCnt="3"/>
      <dgm:spPr/>
    </dgm:pt>
    <dgm:pt modelId="{F4C30226-3051-47FD-944F-A9E466BB065B}" type="pres">
      <dgm:prSet presAssocID="{CC2FF0DC-F12E-44AD-9EB6-02DF4D31D157}" presName="vertSpace2b" presStyleCnt="0"/>
      <dgm:spPr/>
    </dgm:pt>
    <dgm:pt modelId="{0AD583FF-4E75-4E93-BF29-8ECF5BC875AB}" type="pres">
      <dgm:prSet presAssocID="{13CE7C55-2FEE-4E3E-A649-2A823752F81F}" presName="horz2" presStyleCnt="0"/>
      <dgm:spPr/>
    </dgm:pt>
    <dgm:pt modelId="{65B00FFC-5CFB-4E30-B977-8F26D220EB94}" type="pres">
      <dgm:prSet presAssocID="{13CE7C55-2FEE-4E3E-A649-2A823752F81F}" presName="horzSpace2" presStyleCnt="0"/>
      <dgm:spPr/>
    </dgm:pt>
    <dgm:pt modelId="{7259E3A1-5C39-4844-9B15-144ED3916955}" type="pres">
      <dgm:prSet presAssocID="{13CE7C55-2FEE-4E3E-A649-2A823752F81F}" presName="tx2" presStyleLbl="revTx" presStyleIdx="3" presStyleCnt="4"/>
      <dgm:spPr/>
      <dgm:t>
        <a:bodyPr/>
        <a:lstStyle/>
        <a:p>
          <a:endParaRPr lang="ru-RU"/>
        </a:p>
      </dgm:t>
    </dgm:pt>
    <dgm:pt modelId="{D0AC4CFA-B917-4EAD-BB7B-A4C6F5BCB08E}" type="pres">
      <dgm:prSet presAssocID="{13CE7C55-2FEE-4E3E-A649-2A823752F81F}" presName="vert2" presStyleCnt="0"/>
      <dgm:spPr/>
    </dgm:pt>
    <dgm:pt modelId="{94584082-1B29-49A3-A3C2-AB073CD5D3BC}" type="pres">
      <dgm:prSet presAssocID="{13CE7C55-2FEE-4E3E-A649-2A823752F81F}" presName="thinLine2b" presStyleLbl="callout" presStyleIdx="2" presStyleCnt="3"/>
      <dgm:spPr/>
    </dgm:pt>
    <dgm:pt modelId="{76BAF47A-6A2E-44CE-A239-BA933643D643}" type="pres">
      <dgm:prSet presAssocID="{13CE7C55-2FEE-4E3E-A649-2A823752F81F}" presName="vertSpace2b" presStyleCnt="0"/>
      <dgm:spPr/>
    </dgm:pt>
  </dgm:ptLst>
  <dgm:cxnLst>
    <dgm:cxn modelId="{C6151FE7-872A-47B0-9418-D756F5E31580}" srcId="{C41EBB07-043A-49D2-B5B4-2C305F13AFDE}" destId="{CC2FF0DC-F12E-44AD-9EB6-02DF4D31D157}" srcOrd="1" destOrd="0" parTransId="{68C68428-38FF-4CE8-B183-8C0CF7E05767}" sibTransId="{9143EAB5-D556-4CF1-A7EC-9445C6005F32}"/>
    <dgm:cxn modelId="{3A9398CB-D18C-433A-8C8A-1DCA6D6A4B7F}" type="presOf" srcId="{CC2FF0DC-F12E-44AD-9EB6-02DF4D31D157}" destId="{599432A8-C701-4D26-957C-D84074CAF5C9}" srcOrd="0" destOrd="0" presId="urn:microsoft.com/office/officeart/2008/layout/LinedList"/>
    <dgm:cxn modelId="{7844910E-6FAC-434D-8CB4-855AEF78C6BC}" srcId="{C41EBB07-043A-49D2-B5B4-2C305F13AFDE}" destId="{13CE7C55-2FEE-4E3E-A649-2A823752F81F}" srcOrd="2" destOrd="0" parTransId="{CDD1C4B7-FF8E-43EE-9A8C-A8A2B4FFE083}" sibTransId="{C4805069-B6D8-4F1B-B4F8-1C96E8C09C9A}"/>
    <dgm:cxn modelId="{3952F1F9-D7ED-4B6F-AF4F-08C1E9CCBDB5}" type="presOf" srcId="{65E8839A-2237-4DFF-932F-3A6AD3F70069}" destId="{CBDF9F12-3772-41ED-BD48-85CA0C764E3C}" srcOrd="0" destOrd="0" presId="urn:microsoft.com/office/officeart/2008/layout/LinedList"/>
    <dgm:cxn modelId="{5B68967B-6B03-4E15-8F3F-9D4ECEDFD205}" srcId="{84905745-237D-4B92-9DF7-B518C0EA454B}" destId="{C41EBB07-043A-49D2-B5B4-2C305F13AFDE}" srcOrd="0" destOrd="0" parTransId="{6CF0F807-905C-40FF-B92C-4C403F755817}" sibTransId="{ECDAAC64-6C91-4264-B455-707B72D12A21}"/>
    <dgm:cxn modelId="{1FFAF9A4-649E-4DD8-9518-5ACE7557C2C1}" type="presOf" srcId="{C41EBB07-043A-49D2-B5B4-2C305F13AFDE}" destId="{14BA54D6-5146-41B1-A595-F04B7B3FF67A}" srcOrd="0" destOrd="0" presId="urn:microsoft.com/office/officeart/2008/layout/LinedList"/>
    <dgm:cxn modelId="{54A623F1-424F-4468-86E7-767B00275991}" srcId="{C41EBB07-043A-49D2-B5B4-2C305F13AFDE}" destId="{65E8839A-2237-4DFF-932F-3A6AD3F70069}" srcOrd="0" destOrd="0" parTransId="{F28E61C5-7E06-4DF5-AEB1-E8F39633DBCC}" sibTransId="{2F015CCB-806D-4D5C-86C8-5ABA416FD2D4}"/>
    <dgm:cxn modelId="{E6F5669A-AC51-4D04-A44C-2D8DE9ED4AF4}" type="presOf" srcId="{84905745-237D-4B92-9DF7-B518C0EA454B}" destId="{A33C0922-1CD4-4B0C-AAC7-6FFF5039A6B4}" srcOrd="0" destOrd="0" presId="urn:microsoft.com/office/officeart/2008/layout/LinedList"/>
    <dgm:cxn modelId="{39D50A06-E8BA-4F75-A98A-01A68DF32C1C}" type="presOf" srcId="{13CE7C55-2FEE-4E3E-A649-2A823752F81F}" destId="{7259E3A1-5C39-4844-9B15-144ED3916955}" srcOrd="0" destOrd="0" presId="urn:microsoft.com/office/officeart/2008/layout/LinedList"/>
    <dgm:cxn modelId="{F1500471-A01C-4EF3-94A1-2FCEE9A1C46D}" type="presParOf" srcId="{A33C0922-1CD4-4B0C-AAC7-6FFF5039A6B4}" destId="{ED3440A6-A893-4F08-9028-A68C388B8403}" srcOrd="0" destOrd="0" presId="urn:microsoft.com/office/officeart/2008/layout/LinedList"/>
    <dgm:cxn modelId="{9727D5E2-BE4C-490D-8CC9-802B22A13319}" type="presParOf" srcId="{A33C0922-1CD4-4B0C-AAC7-6FFF5039A6B4}" destId="{30B9EC67-494D-4257-824C-1AB9B6DBE7DA}" srcOrd="1" destOrd="0" presId="urn:microsoft.com/office/officeart/2008/layout/LinedList"/>
    <dgm:cxn modelId="{4DD81139-8EC7-492D-A4E6-4CA5E6B3FC17}" type="presParOf" srcId="{30B9EC67-494D-4257-824C-1AB9B6DBE7DA}" destId="{14BA54D6-5146-41B1-A595-F04B7B3FF67A}" srcOrd="0" destOrd="0" presId="urn:microsoft.com/office/officeart/2008/layout/LinedList"/>
    <dgm:cxn modelId="{8B836A71-F53A-47FF-BA68-B2572291E46D}" type="presParOf" srcId="{30B9EC67-494D-4257-824C-1AB9B6DBE7DA}" destId="{EA56207D-19E0-4B18-BA74-C9A3D28627C6}" srcOrd="1" destOrd="0" presId="urn:microsoft.com/office/officeart/2008/layout/LinedList"/>
    <dgm:cxn modelId="{5FB9122B-C141-4302-8EE6-B731B8C9FE70}" type="presParOf" srcId="{EA56207D-19E0-4B18-BA74-C9A3D28627C6}" destId="{4759AE5E-6B25-4339-BE86-F2FA5A113FCD}" srcOrd="0" destOrd="0" presId="urn:microsoft.com/office/officeart/2008/layout/LinedList"/>
    <dgm:cxn modelId="{92CA5914-45DC-4508-9A6A-ECFFBC351071}" type="presParOf" srcId="{EA56207D-19E0-4B18-BA74-C9A3D28627C6}" destId="{3D4A7175-031F-4920-BBC3-BB61F68C3AB9}" srcOrd="1" destOrd="0" presId="urn:microsoft.com/office/officeart/2008/layout/LinedList"/>
    <dgm:cxn modelId="{6A5B55D1-EE54-44F6-9651-AAF2B8254E4A}" type="presParOf" srcId="{3D4A7175-031F-4920-BBC3-BB61F68C3AB9}" destId="{E14BA65F-8559-423B-8646-1B20179E6918}" srcOrd="0" destOrd="0" presId="urn:microsoft.com/office/officeart/2008/layout/LinedList"/>
    <dgm:cxn modelId="{F660C1A4-4402-41B9-BC66-A15ECF90E743}" type="presParOf" srcId="{3D4A7175-031F-4920-BBC3-BB61F68C3AB9}" destId="{CBDF9F12-3772-41ED-BD48-85CA0C764E3C}" srcOrd="1" destOrd="0" presId="urn:microsoft.com/office/officeart/2008/layout/LinedList"/>
    <dgm:cxn modelId="{33C844C8-965A-475C-B99C-1E50BF93B277}" type="presParOf" srcId="{3D4A7175-031F-4920-BBC3-BB61F68C3AB9}" destId="{5EE249A9-FB2E-4B1A-99A9-6752A9E56C87}" srcOrd="2" destOrd="0" presId="urn:microsoft.com/office/officeart/2008/layout/LinedList"/>
    <dgm:cxn modelId="{BC53CB45-2BC8-4FB0-947F-B4C53EE775BB}" type="presParOf" srcId="{EA56207D-19E0-4B18-BA74-C9A3D28627C6}" destId="{F0F7C186-336D-4499-9060-28DF7B836EA3}" srcOrd="2" destOrd="0" presId="urn:microsoft.com/office/officeart/2008/layout/LinedList"/>
    <dgm:cxn modelId="{5755D02F-9EB2-4DE4-B04F-F3943500B2D9}" type="presParOf" srcId="{EA56207D-19E0-4B18-BA74-C9A3D28627C6}" destId="{E2EFDF2C-A2E9-42D9-A97B-82ABB9C35A79}" srcOrd="3" destOrd="0" presId="urn:microsoft.com/office/officeart/2008/layout/LinedList"/>
    <dgm:cxn modelId="{DEAFBED3-088A-4D26-AE11-253765FE4F29}" type="presParOf" srcId="{EA56207D-19E0-4B18-BA74-C9A3D28627C6}" destId="{9625F51C-C5D6-4B04-B32C-B2BA03FEB28D}" srcOrd="4" destOrd="0" presId="urn:microsoft.com/office/officeart/2008/layout/LinedList"/>
    <dgm:cxn modelId="{BB45C62A-54EE-4E88-8E5F-B565F0CC24EB}" type="presParOf" srcId="{9625F51C-C5D6-4B04-B32C-B2BA03FEB28D}" destId="{0E60BA32-CA40-43BD-BA27-2F13323B4724}" srcOrd="0" destOrd="0" presId="urn:microsoft.com/office/officeart/2008/layout/LinedList"/>
    <dgm:cxn modelId="{6E8E9A1E-9C09-4CDE-930E-3AB5D3EA61B5}" type="presParOf" srcId="{9625F51C-C5D6-4B04-B32C-B2BA03FEB28D}" destId="{599432A8-C701-4D26-957C-D84074CAF5C9}" srcOrd="1" destOrd="0" presId="urn:microsoft.com/office/officeart/2008/layout/LinedList"/>
    <dgm:cxn modelId="{F3895030-69A1-412B-8378-DC3A103E5512}" type="presParOf" srcId="{9625F51C-C5D6-4B04-B32C-B2BA03FEB28D}" destId="{5DFF3DAD-8C02-4C23-B8FD-466C5364102B}" srcOrd="2" destOrd="0" presId="urn:microsoft.com/office/officeart/2008/layout/LinedList"/>
    <dgm:cxn modelId="{DD1F1DA2-E1FC-4E02-BBDC-0BC13CDAB3F5}" type="presParOf" srcId="{EA56207D-19E0-4B18-BA74-C9A3D28627C6}" destId="{B4019518-3090-4E0E-8F07-C22691470185}" srcOrd="5" destOrd="0" presId="urn:microsoft.com/office/officeart/2008/layout/LinedList"/>
    <dgm:cxn modelId="{505E1D68-4A15-4D3F-95B8-2ABC5ABCE5E8}" type="presParOf" srcId="{EA56207D-19E0-4B18-BA74-C9A3D28627C6}" destId="{F4C30226-3051-47FD-944F-A9E466BB065B}" srcOrd="6" destOrd="0" presId="urn:microsoft.com/office/officeart/2008/layout/LinedList"/>
    <dgm:cxn modelId="{43A54EB1-1D25-41A4-A220-8F9196D57C1F}" type="presParOf" srcId="{EA56207D-19E0-4B18-BA74-C9A3D28627C6}" destId="{0AD583FF-4E75-4E93-BF29-8ECF5BC875AB}" srcOrd="7" destOrd="0" presId="urn:microsoft.com/office/officeart/2008/layout/LinedList"/>
    <dgm:cxn modelId="{4B771DB5-DCA7-4171-BDA4-F34B4F07D37B}" type="presParOf" srcId="{0AD583FF-4E75-4E93-BF29-8ECF5BC875AB}" destId="{65B00FFC-5CFB-4E30-B977-8F26D220EB94}" srcOrd="0" destOrd="0" presId="urn:microsoft.com/office/officeart/2008/layout/LinedList"/>
    <dgm:cxn modelId="{51B618F4-991C-4E82-9136-7E942C030B6A}" type="presParOf" srcId="{0AD583FF-4E75-4E93-BF29-8ECF5BC875AB}" destId="{7259E3A1-5C39-4844-9B15-144ED3916955}" srcOrd="1" destOrd="0" presId="urn:microsoft.com/office/officeart/2008/layout/LinedList"/>
    <dgm:cxn modelId="{79D80C9D-39F5-44AC-AB86-FB904BBA986A}" type="presParOf" srcId="{0AD583FF-4E75-4E93-BF29-8ECF5BC875AB}" destId="{D0AC4CFA-B917-4EAD-BB7B-A4C6F5BCB08E}" srcOrd="2" destOrd="0" presId="urn:microsoft.com/office/officeart/2008/layout/LinedList"/>
    <dgm:cxn modelId="{BEFB2BC8-B3DB-48C0-9F01-38BF315867C5}" type="presParOf" srcId="{EA56207D-19E0-4B18-BA74-C9A3D28627C6}" destId="{94584082-1B29-49A3-A3C2-AB073CD5D3BC}" srcOrd="8" destOrd="0" presId="urn:microsoft.com/office/officeart/2008/layout/LinedList"/>
    <dgm:cxn modelId="{23648D6B-83EC-43DF-A185-34834B48FB87}" type="presParOf" srcId="{EA56207D-19E0-4B18-BA74-C9A3D28627C6}" destId="{76BAF47A-6A2E-44CE-A239-BA933643D643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E969C50-BE1B-4D82-886D-FE7B77BC5427}" type="doc">
      <dgm:prSet loTypeId="urn:microsoft.com/office/officeart/2008/layout/LinedList" loCatId="list" qsTypeId="urn:microsoft.com/office/officeart/2005/8/quickstyle/simple1" qsCatId="simple" csTypeId="urn:microsoft.com/office/officeart/2005/8/colors/accent4_2" csCatId="accent4" phldr="1"/>
      <dgm:spPr/>
      <dgm:t>
        <a:bodyPr/>
        <a:lstStyle/>
        <a:p>
          <a:endParaRPr lang="ru-RU"/>
        </a:p>
      </dgm:t>
    </dgm:pt>
    <dgm:pt modelId="{F6D53DC5-7534-4A6F-B156-32FCB78C694D}">
      <dgm:prSet phldrT="[Текст]"/>
      <dgm:spPr/>
      <dgm:t>
        <a:bodyPr/>
        <a:lstStyle/>
        <a:p>
          <a:r>
            <a:rPr lang="ru-RU" dirty="0" smtClean="0">
              <a:solidFill>
                <a:schemeClr val="tx2"/>
              </a:solidFill>
            </a:rPr>
            <a:t>Что дает хорошая кредитная история</a:t>
          </a:r>
          <a:r>
            <a:rPr lang="en-US" dirty="0" smtClean="0">
              <a:solidFill>
                <a:schemeClr val="tx2"/>
              </a:solidFill>
            </a:rPr>
            <a:t>?</a:t>
          </a:r>
          <a:endParaRPr lang="ru-RU" dirty="0">
            <a:solidFill>
              <a:schemeClr val="tx2"/>
            </a:solidFill>
          </a:endParaRPr>
        </a:p>
      </dgm:t>
    </dgm:pt>
    <dgm:pt modelId="{63FBB61C-6E0E-429C-B550-B1308381F02A}" type="parTrans" cxnId="{343281CB-3A27-45AA-A7D2-57084970F0BD}">
      <dgm:prSet/>
      <dgm:spPr/>
      <dgm:t>
        <a:bodyPr/>
        <a:lstStyle/>
        <a:p>
          <a:endParaRPr lang="ru-RU"/>
        </a:p>
      </dgm:t>
    </dgm:pt>
    <dgm:pt modelId="{EA40CB28-0522-4C0E-B5AA-72184B187CE7}" type="sibTrans" cxnId="{343281CB-3A27-45AA-A7D2-57084970F0BD}">
      <dgm:prSet/>
      <dgm:spPr/>
      <dgm:t>
        <a:bodyPr/>
        <a:lstStyle/>
        <a:p>
          <a:endParaRPr lang="ru-RU"/>
        </a:p>
      </dgm:t>
    </dgm:pt>
    <dgm:pt modelId="{1B3BBAED-B7FA-413C-99D5-000D7FFB07DC}">
      <dgm:prSet phldrT="[Текст]"/>
      <dgm:spPr/>
      <dgm:t>
        <a:bodyPr/>
        <a:lstStyle/>
        <a:p>
          <a:r>
            <a:rPr lang="ru-RU" dirty="0" smtClean="0"/>
            <a:t>Высокую вероятность одобрения кредита</a:t>
          </a:r>
          <a:endParaRPr lang="ru-RU" dirty="0"/>
        </a:p>
      </dgm:t>
    </dgm:pt>
    <dgm:pt modelId="{F1B58C40-EB8D-4B28-B864-32906614A268}" type="parTrans" cxnId="{C8E2BEBE-5959-4EB2-8ECA-4BD2243C90E7}">
      <dgm:prSet/>
      <dgm:spPr/>
      <dgm:t>
        <a:bodyPr/>
        <a:lstStyle/>
        <a:p>
          <a:endParaRPr lang="ru-RU"/>
        </a:p>
      </dgm:t>
    </dgm:pt>
    <dgm:pt modelId="{A2A8A54F-6CAC-4A29-9DC6-9B0396BBF41D}" type="sibTrans" cxnId="{C8E2BEBE-5959-4EB2-8ECA-4BD2243C90E7}">
      <dgm:prSet/>
      <dgm:spPr/>
      <dgm:t>
        <a:bodyPr/>
        <a:lstStyle/>
        <a:p>
          <a:endParaRPr lang="ru-RU"/>
        </a:p>
      </dgm:t>
    </dgm:pt>
    <dgm:pt modelId="{71CEDB99-3626-4139-B87F-49D170B2B0E1}">
      <dgm:prSet phldrT="[Текст]"/>
      <dgm:spPr/>
      <dgm:t>
        <a:bodyPr/>
        <a:lstStyle/>
        <a:p>
          <a:r>
            <a:rPr lang="ru-RU" dirty="0" smtClean="0"/>
            <a:t>Возможность выбирать лучшие условия по кредиту, в том числе по более низким ставкам</a:t>
          </a:r>
          <a:endParaRPr lang="ru-RU" dirty="0"/>
        </a:p>
      </dgm:t>
    </dgm:pt>
    <dgm:pt modelId="{A3C64995-7FC0-4FC0-B047-FCA7AFE93368}" type="parTrans" cxnId="{655E6272-C1B4-4D34-AC91-9F454A2085B4}">
      <dgm:prSet/>
      <dgm:spPr/>
      <dgm:t>
        <a:bodyPr/>
        <a:lstStyle/>
        <a:p>
          <a:endParaRPr lang="ru-RU"/>
        </a:p>
      </dgm:t>
    </dgm:pt>
    <dgm:pt modelId="{BE9CA5E9-0053-4432-A487-00D405935D33}" type="sibTrans" cxnId="{655E6272-C1B4-4D34-AC91-9F454A2085B4}">
      <dgm:prSet/>
      <dgm:spPr/>
      <dgm:t>
        <a:bodyPr/>
        <a:lstStyle/>
        <a:p>
          <a:endParaRPr lang="ru-RU"/>
        </a:p>
      </dgm:t>
    </dgm:pt>
    <dgm:pt modelId="{08115B90-48E8-4522-9ED5-7B4AE577D9C6}">
      <dgm:prSet phldrT="[Текст]"/>
      <dgm:spPr/>
      <dgm:t>
        <a:bodyPr/>
        <a:lstStyle/>
        <a:p>
          <a:r>
            <a:rPr lang="ru-RU" dirty="0" smtClean="0"/>
            <a:t>Возможность оперативно получить кредитные средства в случае такой необходимости, в том числе за счет пред одобренных предложений от Банка на выгодных условиях</a:t>
          </a:r>
          <a:endParaRPr lang="ru-RU" dirty="0"/>
        </a:p>
      </dgm:t>
    </dgm:pt>
    <dgm:pt modelId="{B0D74B34-8612-4FDB-98A6-BD6ADBF61248}" type="parTrans" cxnId="{707FACD3-C49B-4A80-8E4F-71A7727C0FC5}">
      <dgm:prSet/>
      <dgm:spPr/>
      <dgm:t>
        <a:bodyPr/>
        <a:lstStyle/>
        <a:p>
          <a:endParaRPr lang="ru-RU"/>
        </a:p>
      </dgm:t>
    </dgm:pt>
    <dgm:pt modelId="{2635879B-AC26-4D4A-A35D-F252C8C4D4E4}" type="sibTrans" cxnId="{707FACD3-C49B-4A80-8E4F-71A7727C0FC5}">
      <dgm:prSet/>
      <dgm:spPr/>
      <dgm:t>
        <a:bodyPr/>
        <a:lstStyle/>
        <a:p>
          <a:endParaRPr lang="ru-RU"/>
        </a:p>
      </dgm:t>
    </dgm:pt>
    <dgm:pt modelId="{361C3333-BA54-408F-8F7F-6146A421AA2F}" type="pres">
      <dgm:prSet presAssocID="{EE969C50-BE1B-4D82-886D-FE7B77BC5427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FE493289-DF69-4A37-8A88-1AFEFF67ADB5}" type="pres">
      <dgm:prSet presAssocID="{F6D53DC5-7534-4A6F-B156-32FCB78C694D}" presName="thickLine" presStyleLbl="alignNode1" presStyleIdx="0" presStyleCnt="1"/>
      <dgm:spPr/>
    </dgm:pt>
    <dgm:pt modelId="{1F8FDC3D-3A29-4B87-818D-EC8225B64CE1}" type="pres">
      <dgm:prSet presAssocID="{F6D53DC5-7534-4A6F-B156-32FCB78C694D}" presName="horz1" presStyleCnt="0"/>
      <dgm:spPr/>
    </dgm:pt>
    <dgm:pt modelId="{81C2EDD2-BB06-41F0-AB3C-52C84CB2F945}" type="pres">
      <dgm:prSet presAssocID="{F6D53DC5-7534-4A6F-B156-32FCB78C694D}" presName="tx1" presStyleLbl="revTx" presStyleIdx="0" presStyleCnt="4"/>
      <dgm:spPr/>
      <dgm:t>
        <a:bodyPr/>
        <a:lstStyle/>
        <a:p>
          <a:endParaRPr lang="ru-RU"/>
        </a:p>
      </dgm:t>
    </dgm:pt>
    <dgm:pt modelId="{33DABB0E-8166-4A48-BB37-FA3160E9C7EA}" type="pres">
      <dgm:prSet presAssocID="{F6D53DC5-7534-4A6F-B156-32FCB78C694D}" presName="vert1" presStyleCnt="0"/>
      <dgm:spPr/>
    </dgm:pt>
    <dgm:pt modelId="{68E49033-5512-4114-A336-5B7321ECFC9C}" type="pres">
      <dgm:prSet presAssocID="{1B3BBAED-B7FA-413C-99D5-000D7FFB07DC}" presName="vertSpace2a" presStyleCnt="0"/>
      <dgm:spPr/>
    </dgm:pt>
    <dgm:pt modelId="{E73F7721-4564-4D42-AE1E-425E703DD3A3}" type="pres">
      <dgm:prSet presAssocID="{1B3BBAED-B7FA-413C-99D5-000D7FFB07DC}" presName="horz2" presStyleCnt="0"/>
      <dgm:spPr/>
    </dgm:pt>
    <dgm:pt modelId="{CD76C193-1326-443F-B5D1-8CA29B772AA2}" type="pres">
      <dgm:prSet presAssocID="{1B3BBAED-B7FA-413C-99D5-000D7FFB07DC}" presName="horzSpace2" presStyleCnt="0"/>
      <dgm:spPr/>
    </dgm:pt>
    <dgm:pt modelId="{B3FC3BED-69A4-48D4-A30B-CE415E2FB276}" type="pres">
      <dgm:prSet presAssocID="{1B3BBAED-B7FA-413C-99D5-000D7FFB07DC}" presName="tx2" presStyleLbl="revTx" presStyleIdx="1" presStyleCnt="4" custScaleX="86753" custLinFactNeighborX="8749" custLinFactNeighborY="502"/>
      <dgm:spPr/>
      <dgm:t>
        <a:bodyPr/>
        <a:lstStyle/>
        <a:p>
          <a:endParaRPr lang="ru-RU"/>
        </a:p>
      </dgm:t>
    </dgm:pt>
    <dgm:pt modelId="{CD3E89C6-4430-427F-AA2C-38CF834BD967}" type="pres">
      <dgm:prSet presAssocID="{1B3BBAED-B7FA-413C-99D5-000D7FFB07DC}" presName="vert2" presStyleCnt="0"/>
      <dgm:spPr/>
    </dgm:pt>
    <dgm:pt modelId="{E4B027F4-2AD8-45BD-BC42-31F2EA1E2224}" type="pres">
      <dgm:prSet presAssocID="{1B3BBAED-B7FA-413C-99D5-000D7FFB07DC}" presName="thinLine2b" presStyleLbl="callout" presStyleIdx="0" presStyleCnt="3"/>
      <dgm:spPr/>
    </dgm:pt>
    <dgm:pt modelId="{C90829A4-012C-426A-A23C-582D6AF7AFD3}" type="pres">
      <dgm:prSet presAssocID="{1B3BBAED-B7FA-413C-99D5-000D7FFB07DC}" presName="vertSpace2b" presStyleCnt="0"/>
      <dgm:spPr/>
    </dgm:pt>
    <dgm:pt modelId="{AC659AD8-ACA8-414E-9D34-BD6BDDE1B1A0}" type="pres">
      <dgm:prSet presAssocID="{71CEDB99-3626-4139-B87F-49D170B2B0E1}" presName="horz2" presStyleCnt="0"/>
      <dgm:spPr/>
    </dgm:pt>
    <dgm:pt modelId="{637457A8-97D7-4F04-983E-CA9CAA39FD7A}" type="pres">
      <dgm:prSet presAssocID="{71CEDB99-3626-4139-B87F-49D170B2B0E1}" presName="horzSpace2" presStyleCnt="0"/>
      <dgm:spPr/>
    </dgm:pt>
    <dgm:pt modelId="{AF89E159-522A-4AB7-8998-993BC70872C4}" type="pres">
      <dgm:prSet presAssocID="{71CEDB99-3626-4139-B87F-49D170B2B0E1}" presName="tx2" presStyleLbl="revTx" presStyleIdx="2" presStyleCnt="4" custScaleX="86753" custLinFactNeighborX="8749" custLinFactNeighborY="-38"/>
      <dgm:spPr/>
      <dgm:t>
        <a:bodyPr/>
        <a:lstStyle/>
        <a:p>
          <a:endParaRPr lang="ru-RU"/>
        </a:p>
      </dgm:t>
    </dgm:pt>
    <dgm:pt modelId="{5609835C-BB16-4253-A4D6-A838BFB8ED0D}" type="pres">
      <dgm:prSet presAssocID="{71CEDB99-3626-4139-B87F-49D170B2B0E1}" presName="vert2" presStyleCnt="0"/>
      <dgm:spPr/>
    </dgm:pt>
    <dgm:pt modelId="{1AC55917-4264-49B8-9AD7-554EE4154909}" type="pres">
      <dgm:prSet presAssocID="{71CEDB99-3626-4139-B87F-49D170B2B0E1}" presName="thinLine2b" presStyleLbl="callout" presStyleIdx="1" presStyleCnt="3"/>
      <dgm:spPr/>
    </dgm:pt>
    <dgm:pt modelId="{C2F72954-0A7A-409F-82FE-EDA0D584DCDD}" type="pres">
      <dgm:prSet presAssocID="{71CEDB99-3626-4139-B87F-49D170B2B0E1}" presName="vertSpace2b" presStyleCnt="0"/>
      <dgm:spPr/>
    </dgm:pt>
    <dgm:pt modelId="{F4CA804C-BBB1-44FD-B803-DDD99DC460E0}" type="pres">
      <dgm:prSet presAssocID="{08115B90-48E8-4522-9ED5-7B4AE577D9C6}" presName="horz2" presStyleCnt="0"/>
      <dgm:spPr/>
    </dgm:pt>
    <dgm:pt modelId="{19D861BC-20D1-455D-9274-9538A17B9F9C}" type="pres">
      <dgm:prSet presAssocID="{08115B90-48E8-4522-9ED5-7B4AE577D9C6}" presName="horzSpace2" presStyleCnt="0"/>
      <dgm:spPr/>
    </dgm:pt>
    <dgm:pt modelId="{C212E362-F830-4234-AA4F-B7A1FCFC2648}" type="pres">
      <dgm:prSet presAssocID="{08115B90-48E8-4522-9ED5-7B4AE577D9C6}" presName="tx2" presStyleLbl="revTx" presStyleIdx="3" presStyleCnt="4" custScaleX="80376" custLinFactNeighborX="8749" custLinFactNeighborY="-312"/>
      <dgm:spPr/>
      <dgm:t>
        <a:bodyPr/>
        <a:lstStyle/>
        <a:p>
          <a:endParaRPr lang="ru-RU"/>
        </a:p>
      </dgm:t>
    </dgm:pt>
    <dgm:pt modelId="{AC2FDB63-8E74-49C5-9276-C2D4E454C0DA}" type="pres">
      <dgm:prSet presAssocID="{08115B90-48E8-4522-9ED5-7B4AE577D9C6}" presName="vert2" presStyleCnt="0"/>
      <dgm:spPr/>
    </dgm:pt>
    <dgm:pt modelId="{CC224240-A143-4DD5-8767-8F4DBE924BDD}" type="pres">
      <dgm:prSet presAssocID="{08115B90-48E8-4522-9ED5-7B4AE577D9C6}" presName="thinLine2b" presStyleLbl="callout" presStyleIdx="2" presStyleCnt="3"/>
      <dgm:spPr/>
    </dgm:pt>
    <dgm:pt modelId="{2261C06A-F838-4B29-AD0F-873EA3440743}" type="pres">
      <dgm:prSet presAssocID="{08115B90-48E8-4522-9ED5-7B4AE577D9C6}" presName="vertSpace2b" presStyleCnt="0"/>
      <dgm:spPr/>
    </dgm:pt>
  </dgm:ptLst>
  <dgm:cxnLst>
    <dgm:cxn modelId="{343281CB-3A27-45AA-A7D2-57084970F0BD}" srcId="{EE969C50-BE1B-4D82-886D-FE7B77BC5427}" destId="{F6D53DC5-7534-4A6F-B156-32FCB78C694D}" srcOrd="0" destOrd="0" parTransId="{63FBB61C-6E0E-429C-B550-B1308381F02A}" sibTransId="{EA40CB28-0522-4C0E-B5AA-72184B187CE7}"/>
    <dgm:cxn modelId="{429164E8-945E-4F17-BBBD-D54AA6957416}" type="presOf" srcId="{71CEDB99-3626-4139-B87F-49D170B2B0E1}" destId="{AF89E159-522A-4AB7-8998-993BC70872C4}" srcOrd="0" destOrd="0" presId="urn:microsoft.com/office/officeart/2008/layout/LinedList"/>
    <dgm:cxn modelId="{707FACD3-C49B-4A80-8E4F-71A7727C0FC5}" srcId="{F6D53DC5-7534-4A6F-B156-32FCB78C694D}" destId="{08115B90-48E8-4522-9ED5-7B4AE577D9C6}" srcOrd="2" destOrd="0" parTransId="{B0D74B34-8612-4FDB-98A6-BD6ADBF61248}" sibTransId="{2635879B-AC26-4D4A-A35D-F252C8C4D4E4}"/>
    <dgm:cxn modelId="{DEA6C6CD-2E03-4901-B325-653C76AEF1CE}" type="presOf" srcId="{EE969C50-BE1B-4D82-886D-FE7B77BC5427}" destId="{361C3333-BA54-408F-8F7F-6146A421AA2F}" srcOrd="0" destOrd="0" presId="urn:microsoft.com/office/officeart/2008/layout/LinedList"/>
    <dgm:cxn modelId="{731D45BE-1E1E-43E9-9103-392F2DC18CBD}" type="presOf" srcId="{F6D53DC5-7534-4A6F-B156-32FCB78C694D}" destId="{81C2EDD2-BB06-41F0-AB3C-52C84CB2F945}" srcOrd="0" destOrd="0" presId="urn:microsoft.com/office/officeart/2008/layout/LinedList"/>
    <dgm:cxn modelId="{86BAD450-EA60-4567-BBED-B171FD72A1B4}" type="presOf" srcId="{1B3BBAED-B7FA-413C-99D5-000D7FFB07DC}" destId="{B3FC3BED-69A4-48D4-A30B-CE415E2FB276}" srcOrd="0" destOrd="0" presId="urn:microsoft.com/office/officeart/2008/layout/LinedList"/>
    <dgm:cxn modelId="{4CB97D21-6846-40DF-9C8E-79750C077B72}" type="presOf" srcId="{08115B90-48E8-4522-9ED5-7B4AE577D9C6}" destId="{C212E362-F830-4234-AA4F-B7A1FCFC2648}" srcOrd="0" destOrd="0" presId="urn:microsoft.com/office/officeart/2008/layout/LinedList"/>
    <dgm:cxn modelId="{C8E2BEBE-5959-4EB2-8ECA-4BD2243C90E7}" srcId="{F6D53DC5-7534-4A6F-B156-32FCB78C694D}" destId="{1B3BBAED-B7FA-413C-99D5-000D7FFB07DC}" srcOrd="0" destOrd="0" parTransId="{F1B58C40-EB8D-4B28-B864-32906614A268}" sibTransId="{A2A8A54F-6CAC-4A29-9DC6-9B0396BBF41D}"/>
    <dgm:cxn modelId="{655E6272-C1B4-4D34-AC91-9F454A2085B4}" srcId="{F6D53DC5-7534-4A6F-B156-32FCB78C694D}" destId="{71CEDB99-3626-4139-B87F-49D170B2B0E1}" srcOrd="1" destOrd="0" parTransId="{A3C64995-7FC0-4FC0-B047-FCA7AFE93368}" sibTransId="{BE9CA5E9-0053-4432-A487-00D405935D33}"/>
    <dgm:cxn modelId="{12818939-2C9B-44B1-AF70-001FD63AED5E}" type="presParOf" srcId="{361C3333-BA54-408F-8F7F-6146A421AA2F}" destId="{FE493289-DF69-4A37-8A88-1AFEFF67ADB5}" srcOrd="0" destOrd="0" presId="urn:microsoft.com/office/officeart/2008/layout/LinedList"/>
    <dgm:cxn modelId="{F8430EB2-4FC4-4170-AB02-779BED37ABDD}" type="presParOf" srcId="{361C3333-BA54-408F-8F7F-6146A421AA2F}" destId="{1F8FDC3D-3A29-4B87-818D-EC8225B64CE1}" srcOrd="1" destOrd="0" presId="urn:microsoft.com/office/officeart/2008/layout/LinedList"/>
    <dgm:cxn modelId="{67AA5A72-560E-454F-A946-5DF306090010}" type="presParOf" srcId="{1F8FDC3D-3A29-4B87-818D-EC8225B64CE1}" destId="{81C2EDD2-BB06-41F0-AB3C-52C84CB2F945}" srcOrd="0" destOrd="0" presId="urn:microsoft.com/office/officeart/2008/layout/LinedList"/>
    <dgm:cxn modelId="{C7289CAE-58E7-48AA-871B-96B0F01F9A9D}" type="presParOf" srcId="{1F8FDC3D-3A29-4B87-818D-EC8225B64CE1}" destId="{33DABB0E-8166-4A48-BB37-FA3160E9C7EA}" srcOrd="1" destOrd="0" presId="urn:microsoft.com/office/officeart/2008/layout/LinedList"/>
    <dgm:cxn modelId="{8DB33BDD-A0ED-4533-BA8E-AE4C80AAF671}" type="presParOf" srcId="{33DABB0E-8166-4A48-BB37-FA3160E9C7EA}" destId="{68E49033-5512-4114-A336-5B7321ECFC9C}" srcOrd="0" destOrd="0" presId="urn:microsoft.com/office/officeart/2008/layout/LinedList"/>
    <dgm:cxn modelId="{BF82B0B2-BDC8-4277-B661-BFAA62EF5B14}" type="presParOf" srcId="{33DABB0E-8166-4A48-BB37-FA3160E9C7EA}" destId="{E73F7721-4564-4D42-AE1E-425E703DD3A3}" srcOrd="1" destOrd="0" presId="urn:microsoft.com/office/officeart/2008/layout/LinedList"/>
    <dgm:cxn modelId="{2C2CB6F9-4F6C-471E-BDA1-8AD86DC505D3}" type="presParOf" srcId="{E73F7721-4564-4D42-AE1E-425E703DD3A3}" destId="{CD76C193-1326-443F-B5D1-8CA29B772AA2}" srcOrd="0" destOrd="0" presId="urn:microsoft.com/office/officeart/2008/layout/LinedList"/>
    <dgm:cxn modelId="{146CFC00-0C8A-4F02-9FCD-406F4FFAD6D2}" type="presParOf" srcId="{E73F7721-4564-4D42-AE1E-425E703DD3A3}" destId="{B3FC3BED-69A4-48D4-A30B-CE415E2FB276}" srcOrd="1" destOrd="0" presId="urn:microsoft.com/office/officeart/2008/layout/LinedList"/>
    <dgm:cxn modelId="{7CBD505C-F468-4FF8-8800-E62936DA7645}" type="presParOf" srcId="{E73F7721-4564-4D42-AE1E-425E703DD3A3}" destId="{CD3E89C6-4430-427F-AA2C-38CF834BD967}" srcOrd="2" destOrd="0" presId="urn:microsoft.com/office/officeart/2008/layout/LinedList"/>
    <dgm:cxn modelId="{27BD73D0-95A8-4C04-982F-6C90B3EC69BE}" type="presParOf" srcId="{33DABB0E-8166-4A48-BB37-FA3160E9C7EA}" destId="{E4B027F4-2AD8-45BD-BC42-31F2EA1E2224}" srcOrd="2" destOrd="0" presId="urn:microsoft.com/office/officeart/2008/layout/LinedList"/>
    <dgm:cxn modelId="{F814BB9A-38A7-455D-B83A-325EB395E2D3}" type="presParOf" srcId="{33DABB0E-8166-4A48-BB37-FA3160E9C7EA}" destId="{C90829A4-012C-426A-A23C-582D6AF7AFD3}" srcOrd="3" destOrd="0" presId="urn:microsoft.com/office/officeart/2008/layout/LinedList"/>
    <dgm:cxn modelId="{3181C38A-0F62-47EF-A2A5-A809D01C4949}" type="presParOf" srcId="{33DABB0E-8166-4A48-BB37-FA3160E9C7EA}" destId="{AC659AD8-ACA8-414E-9D34-BD6BDDE1B1A0}" srcOrd="4" destOrd="0" presId="urn:microsoft.com/office/officeart/2008/layout/LinedList"/>
    <dgm:cxn modelId="{688ADD85-7101-4B3E-AEE7-616E872BFA4A}" type="presParOf" srcId="{AC659AD8-ACA8-414E-9D34-BD6BDDE1B1A0}" destId="{637457A8-97D7-4F04-983E-CA9CAA39FD7A}" srcOrd="0" destOrd="0" presId="urn:microsoft.com/office/officeart/2008/layout/LinedList"/>
    <dgm:cxn modelId="{6A76F182-FDE5-4FF2-9949-C81D89F68380}" type="presParOf" srcId="{AC659AD8-ACA8-414E-9D34-BD6BDDE1B1A0}" destId="{AF89E159-522A-4AB7-8998-993BC70872C4}" srcOrd="1" destOrd="0" presId="urn:microsoft.com/office/officeart/2008/layout/LinedList"/>
    <dgm:cxn modelId="{D3E47A8A-7410-4B0E-9627-9530EF3F0398}" type="presParOf" srcId="{AC659AD8-ACA8-414E-9D34-BD6BDDE1B1A0}" destId="{5609835C-BB16-4253-A4D6-A838BFB8ED0D}" srcOrd="2" destOrd="0" presId="urn:microsoft.com/office/officeart/2008/layout/LinedList"/>
    <dgm:cxn modelId="{97F4EC28-C378-4444-B624-EFDAF1AF54F0}" type="presParOf" srcId="{33DABB0E-8166-4A48-BB37-FA3160E9C7EA}" destId="{1AC55917-4264-49B8-9AD7-554EE4154909}" srcOrd="5" destOrd="0" presId="urn:microsoft.com/office/officeart/2008/layout/LinedList"/>
    <dgm:cxn modelId="{1C826195-7358-4E6E-AF1B-59159059CE22}" type="presParOf" srcId="{33DABB0E-8166-4A48-BB37-FA3160E9C7EA}" destId="{C2F72954-0A7A-409F-82FE-EDA0D584DCDD}" srcOrd="6" destOrd="0" presId="urn:microsoft.com/office/officeart/2008/layout/LinedList"/>
    <dgm:cxn modelId="{3365CF12-130C-4354-B745-BB3711999684}" type="presParOf" srcId="{33DABB0E-8166-4A48-BB37-FA3160E9C7EA}" destId="{F4CA804C-BBB1-44FD-B803-DDD99DC460E0}" srcOrd="7" destOrd="0" presId="urn:microsoft.com/office/officeart/2008/layout/LinedList"/>
    <dgm:cxn modelId="{4E4FE4F0-D8D5-44DC-B98A-E264FE7F94DC}" type="presParOf" srcId="{F4CA804C-BBB1-44FD-B803-DDD99DC460E0}" destId="{19D861BC-20D1-455D-9274-9538A17B9F9C}" srcOrd="0" destOrd="0" presId="urn:microsoft.com/office/officeart/2008/layout/LinedList"/>
    <dgm:cxn modelId="{8B40C51D-4C1D-4316-AE1B-D16DB91FFADA}" type="presParOf" srcId="{F4CA804C-BBB1-44FD-B803-DDD99DC460E0}" destId="{C212E362-F830-4234-AA4F-B7A1FCFC2648}" srcOrd="1" destOrd="0" presId="urn:microsoft.com/office/officeart/2008/layout/LinedList"/>
    <dgm:cxn modelId="{D1BA4F79-121F-4405-B1CE-5FF497CDEB1C}" type="presParOf" srcId="{F4CA804C-BBB1-44FD-B803-DDD99DC460E0}" destId="{AC2FDB63-8E74-49C5-9276-C2D4E454C0DA}" srcOrd="2" destOrd="0" presId="urn:microsoft.com/office/officeart/2008/layout/LinedList"/>
    <dgm:cxn modelId="{55536869-DC04-499A-AD6C-19BE839ED9F8}" type="presParOf" srcId="{33DABB0E-8166-4A48-BB37-FA3160E9C7EA}" destId="{CC224240-A143-4DD5-8767-8F4DBE924BDD}" srcOrd="8" destOrd="0" presId="urn:microsoft.com/office/officeart/2008/layout/LinedList"/>
    <dgm:cxn modelId="{C5E85758-A221-4A00-9A10-987C9DBFBA73}" type="presParOf" srcId="{33DABB0E-8166-4A48-BB37-FA3160E9C7EA}" destId="{2261C06A-F838-4B29-AD0F-873EA3440743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FF533C-FB1A-4C4B-B6D7-294533AA248C}">
      <dsp:nvSpPr>
        <dsp:cNvPr id="0" name=""/>
        <dsp:cNvSpPr/>
      </dsp:nvSpPr>
      <dsp:spPr>
        <a:xfrm>
          <a:off x="-4975102" y="-762294"/>
          <a:ext cx="5925139" cy="5925139"/>
        </a:xfrm>
        <a:prstGeom prst="blockArc">
          <a:avLst>
            <a:gd name="adj1" fmla="val 18900000"/>
            <a:gd name="adj2" fmla="val 2700000"/>
            <a:gd name="adj3" fmla="val 365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728727-6EC7-43D4-8737-7FE0B4B6437D}">
      <dsp:nvSpPr>
        <dsp:cNvPr id="0" name=""/>
        <dsp:cNvSpPr/>
      </dsp:nvSpPr>
      <dsp:spPr>
        <a:xfrm>
          <a:off x="611021" y="440055"/>
          <a:ext cx="5929301" cy="88011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87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Основной источник - это кредитная история заемщика. Показатели, которые рассчитывает каждый конкретный Банк, будут разными, но их основной источник один</a:t>
          </a:r>
          <a:endParaRPr lang="ru-RU" sz="1500" kern="1200" dirty="0"/>
        </a:p>
      </dsp:txBody>
      <dsp:txXfrm>
        <a:off x="611021" y="440055"/>
        <a:ext cx="5929301" cy="880110"/>
      </dsp:txXfrm>
    </dsp:sp>
    <dsp:sp modelId="{4FCABEF0-6FB9-45C0-9D7A-176CF46447E4}">
      <dsp:nvSpPr>
        <dsp:cNvPr id="0" name=""/>
        <dsp:cNvSpPr/>
      </dsp:nvSpPr>
      <dsp:spPr>
        <a:xfrm>
          <a:off x="60953" y="330041"/>
          <a:ext cx="1100137" cy="11001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A4A111-DE84-44FC-A3BE-D513245A25C0}">
      <dsp:nvSpPr>
        <dsp:cNvPr id="0" name=""/>
        <dsp:cNvSpPr/>
      </dsp:nvSpPr>
      <dsp:spPr>
        <a:xfrm>
          <a:off x="930941" y="1760220"/>
          <a:ext cx="5609381" cy="88011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87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Социально-демографические характеристики, профессия, отрасль, в которой трудоустроен заемщик</a:t>
          </a:r>
          <a:endParaRPr lang="ru-RU" sz="1500" kern="1200" dirty="0"/>
        </a:p>
      </dsp:txBody>
      <dsp:txXfrm>
        <a:off x="930941" y="1760220"/>
        <a:ext cx="5609381" cy="880110"/>
      </dsp:txXfrm>
    </dsp:sp>
    <dsp:sp modelId="{1D34F387-6F49-4B57-B20B-7DCAE0BD0A38}">
      <dsp:nvSpPr>
        <dsp:cNvPr id="0" name=""/>
        <dsp:cNvSpPr/>
      </dsp:nvSpPr>
      <dsp:spPr>
        <a:xfrm>
          <a:off x="380873" y="1650206"/>
          <a:ext cx="1100137" cy="11001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4BDDF45-B979-4509-8923-81D28DF591B8}">
      <dsp:nvSpPr>
        <dsp:cNvPr id="0" name=""/>
        <dsp:cNvSpPr/>
      </dsp:nvSpPr>
      <dsp:spPr>
        <a:xfrm>
          <a:off x="611021" y="3080385"/>
          <a:ext cx="5929301" cy="88011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87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Информация о доходах</a:t>
          </a:r>
          <a:endParaRPr lang="ru-RU" sz="1500" kern="1200" dirty="0"/>
        </a:p>
      </dsp:txBody>
      <dsp:txXfrm>
        <a:off x="611021" y="3080385"/>
        <a:ext cx="5929301" cy="880110"/>
      </dsp:txXfrm>
    </dsp:sp>
    <dsp:sp modelId="{06E8821A-4B73-46FC-84F1-AF0AE8A34192}">
      <dsp:nvSpPr>
        <dsp:cNvPr id="0" name=""/>
        <dsp:cNvSpPr/>
      </dsp:nvSpPr>
      <dsp:spPr>
        <a:xfrm>
          <a:off x="60953" y="2970371"/>
          <a:ext cx="1100137" cy="11001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780ACB-A6B7-4567-B1C1-DA57FE2FB642}">
      <dsp:nvSpPr>
        <dsp:cNvPr id="0" name=""/>
        <dsp:cNvSpPr/>
      </dsp:nvSpPr>
      <dsp:spPr>
        <a:xfrm>
          <a:off x="-4975102" y="-762294"/>
          <a:ext cx="5925139" cy="5925139"/>
        </a:xfrm>
        <a:prstGeom prst="blockArc">
          <a:avLst>
            <a:gd name="adj1" fmla="val 18900000"/>
            <a:gd name="adj2" fmla="val 2700000"/>
            <a:gd name="adj3" fmla="val 365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F94601-6AB0-4012-B29C-146977C1A7D0}">
      <dsp:nvSpPr>
        <dsp:cNvPr id="0" name=""/>
        <dsp:cNvSpPr/>
      </dsp:nvSpPr>
      <dsp:spPr>
        <a:xfrm>
          <a:off x="611021" y="440055"/>
          <a:ext cx="5929301" cy="88011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87" tIns="48260" rIns="48260" bIns="4826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Готовность вернуть кредит</a:t>
          </a:r>
          <a:endParaRPr lang="ru-RU" sz="1900" kern="1200" dirty="0"/>
        </a:p>
      </dsp:txBody>
      <dsp:txXfrm>
        <a:off x="611021" y="440055"/>
        <a:ext cx="5929301" cy="880110"/>
      </dsp:txXfrm>
    </dsp:sp>
    <dsp:sp modelId="{0A8A25CC-2778-4292-B6A3-DD74D32E9D17}">
      <dsp:nvSpPr>
        <dsp:cNvPr id="0" name=""/>
        <dsp:cNvSpPr/>
      </dsp:nvSpPr>
      <dsp:spPr>
        <a:xfrm>
          <a:off x="60953" y="330041"/>
          <a:ext cx="1100137" cy="11001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6E298B-4277-47A1-8C30-B211861EC63F}">
      <dsp:nvSpPr>
        <dsp:cNvPr id="0" name=""/>
        <dsp:cNvSpPr/>
      </dsp:nvSpPr>
      <dsp:spPr>
        <a:xfrm>
          <a:off x="930941" y="1760220"/>
          <a:ext cx="5609381" cy="88011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87" tIns="48260" rIns="48260" bIns="4826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Наличие финансовой возможности обслуживать долг</a:t>
          </a:r>
          <a:endParaRPr lang="ru-RU" sz="1900" kern="1200" dirty="0"/>
        </a:p>
      </dsp:txBody>
      <dsp:txXfrm>
        <a:off x="930941" y="1760220"/>
        <a:ext cx="5609381" cy="880110"/>
      </dsp:txXfrm>
    </dsp:sp>
    <dsp:sp modelId="{3686DD2E-8ED5-4633-A293-639AE68C3973}">
      <dsp:nvSpPr>
        <dsp:cNvPr id="0" name=""/>
        <dsp:cNvSpPr/>
      </dsp:nvSpPr>
      <dsp:spPr>
        <a:xfrm>
          <a:off x="380873" y="1650206"/>
          <a:ext cx="1100137" cy="11001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0559C0-17FD-4073-8BC0-25544868C439}">
      <dsp:nvSpPr>
        <dsp:cNvPr id="0" name=""/>
        <dsp:cNvSpPr/>
      </dsp:nvSpPr>
      <dsp:spPr>
        <a:xfrm>
          <a:off x="611021" y="3080385"/>
          <a:ext cx="5929301" cy="88011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87" tIns="48260" rIns="48260" bIns="4826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Объем имеющейся кредитной нагрузки по всем кредитным обязательствам и его соотношение с доходом заемщика</a:t>
          </a:r>
          <a:endParaRPr lang="ru-RU" sz="1900" kern="1200" dirty="0"/>
        </a:p>
      </dsp:txBody>
      <dsp:txXfrm>
        <a:off x="611021" y="3080385"/>
        <a:ext cx="5929301" cy="880110"/>
      </dsp:txXfrm>
    </dsp:sp>
    <dsp:sp modelId="{A5246E65-417C-47F3-97BA-3A9FBC314A89}">
      <dsp:nvSpPr>
        <dsp:cNvPr id="0" name=""/>
        <dsp:cNvSpPr/>
      </dsp:nvSpPr>
      <dsp:spPr>
        <a:xfrm>
          <a:off x="60953" y="2970371"/>
          <a:ext cx="1100137" cy="11001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3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B483D6-9D14-4C20-91B8-7B2EC9DF83FE}" type="datetimeFigureOut">
              <a:rPr lang="ru-RU" smtClean="0"/>
              <a:t>21.1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29753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3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D50B4E-3527-46DE-84B9-07E8FDEB56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24676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6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6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6C0CFF-221F-46D6-8795-B3798895B234}" type="datetimeFigureOut">
              <a:rPr lang="ru-RU" smtClean="0"/>
              <a:t>21.1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744538"/>
            <a:ext cx="53879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30099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30099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58584D-A3C8-4F32-B58D-6401803DE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550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04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248" algn="l" defTabSz="9104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0497" algn="l" defTabSz="9104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5747" algn="l" defTabSz="9104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0995" algn="l" defTabSz="9104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76244" algn="l" defTabSz="9104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1493" algn="l" defTabSz="9104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86742" algn="l" defTabSz="9104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1990" algn="l" defTabSz="9104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2999" y="-35494"/>
            <a:ext cx="9895241" cy="6228581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/>
              </a:gs>
              <a:gs pos="51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flat" cmpd="sng" algn="ctr">
            <a:noFill/>
            <a:prstDash val="sysDot"/>
            <a:round/>
            <a:headEnd type="none" w="lg" len="lg"/>
            <a:tailEnd type="none" w="lg" len="lg"/>
          </a:ln>
          <a:effectLst/>
        </p:spPr>
        <p:txBody>
          <a:bodyPr vert="horz" wrap="none" lIns="90980" tIns="90980" rIns="90980" bIns="90980" numCol="1" rtlCol="0" anchor="ctr" anchorCtr="0" compatLnSpc="1">
            <a:prstTxWarp prst="textNoShape">
              <a:avLst/>
            </a:prstTxWarp>
          </a:bodyPr>
          <a:lstStyle/>
          <a:p>
            <a:pPr algn="ctr" defTabSz="909870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6980" y="1240417"/>
            <a:ext cx="9444258" cy="1804143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2400" b="1" cap="none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407187" y="6368460"/>
            <a:ext cx="2310289" cy="364195"/>
          </a:xfrm>
          <a:prstGeom prst="rect">
            <a:avLst/>
          </a:prstGeom>
        </p:spPr>
        <p:txBody>
          <a:bodyPr lIns="90980" tIns="45481" rIns="90980" bIns="4548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1147" fontAlgn="base">
              <a:spcBef>
                <a:spcPct val="0"/>
              </a:spcBef>
              <a:spcAft>
                <a:spcPct val="0"/>
              </a:spcAft>
              <a:defRPr/>
            </a:pPr>
            <a:fld id="{E651A8AB-4145-4B48-990D-279005DA2704}" type="slidenum">
              <a:rPr lang="ru-RU" sz="1400" b="1" smtClean="0"/>
              <a:pPr defTabSz="91114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1115045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506538"/>
            <a:ext cx="8991600" cy="4589462"/>
          </a:xfrm>
          <a:prstGeom prst="rect">
            <a:avLst/>
          </a:prstGeom>
        </p:spPr>
        <p:txBody>
          <a:bodyPr lIns="90086" tIns="45058" rIns="90086" bIns="45058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Text Box 12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9237980" y="6377940"/>
            <a:ext cx="19050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9624" fontAlgn="base">
              <a:spcBef>
                <a:spcPct val="0"/>
              </a:spcBef>
              <a:spcAft>
                <a:spcPct val="0"/>
              </a:spcAft>
              <a:defRPr/>
            </a:pPr>
            <a:fld id="{0BBE299A-BA67-431C-9AEA-62C1812274F4}" type="slidenum">
              <a:rPr lang="ru-RU" sz="1400">
                <a:solidFill>
                  <a:srgbClr val="FFFFFF"/>
                </a:solidFill>
              </a:rPr>
              <a:pPr algn="r" defTabSz="89962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970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2999" y="-35503"/>
            <a:ext cx="9895241" cy="6228581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/>
              </a:gs>
              <a:gs pos="51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flat" cmpd="sng" algn="ctr">
            <a:noFill/>
            <a:prstDash val="sysDot"/>
            <a:round/>
            <a:headEnd type="none" w="lg" len="lg"/>
            <a:tailEnd type="none" w="lg" len="lg"/>
          </a:ln>
          <a:effectLst/>
        </p:spPr>
        <p:txBody>
          <a:bodyPr vert="horz" wrap="none" lIns="91070" tIns="91070" rIns="91070" bIns="91070" numCol="1" rtlCol="0" anchor="ctr" anchorCtr="0" compatLnSpc="1">
            <a:prstTxWarp prst="textNoShape">
              <a:avLst/>
            </a:prstTxWarp>
          </a:bodyPr>
          <a:lstStyle/>
          <a:p>
            <a:pPr algn="ctr" defTabSz="910705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6980" y="1240417"/>
            <a:ext cx="9444258" cy="1804143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2400" b="1" cap="none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407187" y="6368451"/>
            <a:ext cx="2310289" cy="364195"/>
          </a:xfrm>
          <a:prstGeom prst="rect">
            <a:avLst/>
          </a:prstGeom>
        </p:spPr>
        <p:txBody>
          <a:bodyPr lIns="91070" tIns="45526" rIns="91070" bIns="45526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1982">
              <a:defRPr/>
            </a:pPr>
            <a:fld id="{E651A8AB-4145-4B48-990D-279005DA2704}" type="slidenum">
              <a:rPr lang="ru-RU" smtClean="0">
                <a:solidFill>
                  <a:srgbClr val="000000"/>
                </a:solidFill>
              </a:rPr>
              <a:pPr defTabSz="911982"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459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l="1853"/>
          <a:stretch/>
        </p:blipFill>
        <p:spPr bwMode="auto">
          <a:xfrm>
            <a:off x="0" y="0"/>
            <a:ext cx="9901238" cy="619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1052061" y="2666115"/>
            <a:ext cx="7757688" cy="574796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600" cap="none" baseline="0">
                <a:solidFill>
                  <a:srgbClr val="96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idx="1"/>
          </p:nvPr>
        </p:nvSpPr>
        <p:spPr>
          <a:xfrm>
            <a:off x="1052087" y="5510042"/>
            <a:ext cx="7758131" cy="574597"/>
          </a:xfrm>
          <a:prstGeom prst="rect">
            <a:avLst/>
          </a:prstGeom>
        </p:spPr>
        <p:txBody>
          <a:bodyPr lIns="91070" tIns="45526" rIns="91070" bIns="45526" anchor="b"/>
          <a:lstStyle>
            <a:lvl1pPr marL="0" indent="0" algn="ctr">
              <a:buNone/>
              <a:defRPr sz="1800" b="0" cap="small" baseline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5351" indent="0">
              <a:buNone/>
              <a:defRPr sz="1800"/>
            </a:lvl2pPr>
            <a:lvl3pPr marL="910705" indent="0">
              <a:buNone/>
              <a:defRPr sz="1600"/>
            </a:lvl3pPr>
            <a:lvl4pPr marL="1366058" indent="0">
              <a:buNone/>
              <a:defRPr sz="1400"/>
            </a:lvl4pPr>
            <a:lvl5pPr marL="1821411" indent="0">
              <a:buNone/>
              <a:defRPr sz="1400"/>
            </a:lvl5pPr>
            <a:lvl6pPr marL="2276765" indent="0">
              <a:buNone/>
              <a:defRPr sz="1400"/>
            </a:lvl6pPr>
            <a:lvl7pPr marL="2732117" indent="0">
              <a:buNone/>
              <a:defRPr sz="1400"/>
            </a:lvl7pPr>
            <a:lvl8pPr marL="3187469" indent="0">
              <a:buNone/>
              <a:defRPr sz="1400"/>
            </a:lvl8pPr>
            <a:lvl9pPr marL="3642821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6192538"/>
            <a:ext cx="9901856" cy="648000"/>
            <a:chOff x="0" y="6177684"/>
            <a:chExt cx="9901856" cy="648000"/>
          </a:xfrm>
        </p:grpSpPr>
        <p:pic>
          <p:nvPicPr>
            <p:cNvPr id="10" name="Picture 3" descr="rs_present03.jpg"/>
            <p:cNvPicPr>
              <a:picLocks noChangeAspect="1"/>
            </p:cNvPicPr>
            <p:nvPr userDrawn="1"/>
          </p:nvPicPr>
          <p:blipFill rotWithShape="1">
            <a:blip r:embed="rId3" cstate="print"/>
            <a:srcRect t="63757" b="19726"/>
            <a:stretch/>
          </p:blipFill>
          <p:spPr bwMode="auto">
            <a:xfrm rot="10800000">
              <a:off x="0" y="6177684"/>
              <a:ext cx="5240590" cy="64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Picture 3" descr="rs_present03.jpg"/>
            <p:cNvPicPr>
              <a:picLocks noChangeAspect="1"/>
            </p:cNvPicPr>
            <p:nvPr userDrawn="1"/>
          </p:nvPicPr>
          <p:blipFill rotWithShape="1">
            <a:blip r:embed="rId3" cstate="print"/>
            <a:srcRect l="4794" t="63757" b="19726"/>
            <a:stretch/>
          </p:blipFill>
          <p:spPr bwMode="auto">
            <a:xfrm rot="10800000">
              <a:off x="4912519" y="6177684"/>
              <a:ext cx="4989337" cy="648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2" name="Picture 1696" descr="logo-main.png (469×58)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525" y="6288262"/>
            <a:ext cx="3691922" cy="456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Прямая соединительная линия 12"/>
          <p:cNvCxnSpPr>
            <a:cxnSpLocks noChangeShapeType="1"/>
          </p:cNvCxnSpPr>
          <p:nvPr userDrawn="1"/>
        </p:nvCxnSpPr>
        <p:spPr bwMode="auto">
          <a:xfrm>
            <a:off x="619" y="6192538"/>
            <a:ext cx="9901238" cy="0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 type="none" w="lg" len="lg"/>
            <a:tailEnd type="none" w="lg" len="lg"/>
          </a:ln>
        </p:spPr>
      </p:cxnSp>
    </p:spTree>
    <p:extLst>
      <p:ext uri="{BB962C8B-B14F-4D97-AF65-F5344CB8AC3E}">
        <p14:creationId xmlns:p14="http://schemas.microsoft.com/office/powerpoint/2010/main" val="2000081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95071" y="6340175"/>
            <a:ext cx="2310289" cy="364195"/>
          </a:xfrm>
          <a:prstGeom prst="rect">
            <a:avLst/>
          </a:prstGeom>
        </p:spPr>
        <p:txBody>
          <a:bodyPr lIns="91359" tIns="45675" rIns="91359" bIns="45675"/>
          <a:lstStyle/>
          <a:p>
            <a:pPr defTabSz="911332"/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382923" y="6340175"/>
            <a:ext cx="3135392" cy="364195"/>
          </a:xfrm>
          <a:prstGeom prst="rect">
            <a:avLst/>
          </a:prstGeom>
        </p:spPr>
        <p:txBody>
          <a:bodyPr lIns="91359" tIns="45675" rIns="91359" bIns="45675"/>
          <a:lstStyle/>
          <a:p>
            <a:pPr defTabSz="911332"/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35B4B-099B-4474-9EF2-74C3E543C4A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9103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593" y="2125010"/>
            <a:ext cx="8416052" cy="146628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186" y="3876305"/>
            <a:ext cx="6930867" cy="1748137"/>
          </a:xfrm>
          <a:prstGeom prst="rect">
            <a:avLst/>
          </a:prstGeom>
        </p:spPr>
        <p:txBody>
          <a:bodyPr lIns="91359" tIns="45675" rIns="91359" bIns="4567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6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071" y="6340175"/>
            <a:ext cx="2310289" cy="364195"/>
          </a:xfrm>
          <a:prstGeom prst="rect">
            <a:avLst/>
          </a:prstGeom>
        </p:spPr>
        <p:txBody>
          <a:bodyPr lIns="91359" tIns="45675" rIns="91359" bIns="45675"/>
          <a:lstStyle/>
          <a:p>
            <a:pPr defTabSz="911332"/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2923" y="6340175"/>
            <a:ext cx="3135392" cy="364195"/>
          </a:xfrm>
          <a:prstGeom prst="rect">
            <a:avLst/>
          </a:prstGeom>
        </p:spPr>
        <p:txBody>
          <a:bodyPr lIns="91359" tIns="45675" rIns="91359" bIns="45675"/>
          <a:lstStyle/>
          <a:p>
            <a:pPr defTabSz="911332"/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35B4B-099B-4474-9EF2-74C3E543C4A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6421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ma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4919575" y="1617512"/>
            <a:ext cx="1480208" cy="1818030"/>
          </a:xfrm>
          <a:custGeom>
            <a:avLst/>
            <a:gdLst>
              <a:gd name="connsiteX0" fmla="*/ 1822671 w 3645342"/>
              <a:gd name="connsiteY0" fmla="*/ 0 h 3645342"/>
              <a:gd name="connsiteX1" fmla="*/ 2025539 w 3645342"/>
              <a:gd name="connsiteY1" fmla="*/ 84031 h 3645342"/>
              <a:gd name="connsiteX2" fmla="*/ 3561312 w 3645342"/>
              <a:gd name="connsiteY2" fmla="*/ 1619803 h 3645342"/>
              <a:gd name="connsiteX3" fmla="*/ 3561312 w 3645342"/>
              <a:gd name="connsiteY3" fmla="*/ 2025539 h 3645342"/>
              <a:gd name="connsiteX4" fmla="*/ 2025539 w 3645342"/>
              <a:gd name="connsiteY4" fmla="*/ 3561312 h 3645342"/>
              <a:gd name="connsiteX5" fmla="*/ 1619803 w 3645342"/>
              <a:gd name="connsiteY5" fmla="*/ 3561312 h 3645342"/>
              <a:gd name="connsiteX6" fmla="*/ 84031 w 3645342"/>
              <a:gd name="connsiteY6" fmla="*/ 2025539 h 3645342"/>
              <a:gd name="connsiteX7" fmla="*/ 84031 w 3645342"/>
              <a:gd name="connsiteY7" fmla="*/ 1619803 h 3645342"/>
              <a:gd name="connsiteX8" fmla="*/ 1619803 w 3645342"/>
              <a:gd name="connsiteY8" fmla="*/ 84031 h 3645342"/>
              <a:gd name="connsiteX9" fmla="*/ 1822671 w 3645342"/>
              <a:gd name="connsiteY9" fmla="*/ 0 h 364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45342" h="3645342">
                <a:moveTo>
                  <a:pt x="1822671" y="0"/>
                </a:moveTo>
                <a:cubicBezTo>
                  <a:pt x="1896095" y="0"/>
                  <a:pt x="1969519" y="28010"/>
                  <a:pt x="2025539" y="84031"/>
                </a:cubicBezTo>
                <a:lnTo>
                  <a:pt x="3561312" y="1619803"/>
                </a:lnTo>
                <a:cubicBezTo>
                  <a:pt x="3673353" y="1731844"/>
                  <a:pt x="3673353" y="1913498"/>
                  <a:pt x="3561312" y="2025539"/>
                </a:cubicBezTo>
                <a:lnTo>
                  <a:pt x="2025539" y="3561312"/>
                </a:lnTo>
                <a:cubicBezTo>
                  <a:pt x="1913498" y="3673353"/>
                  <a:pt x="1731844" y="3673353"/>
                  <a:pt x="1619803" y="3561312"/>
                </a:cubicBezTo>
                <a:lnTo>
                  <a:pt x="84031" y="2025539"/>
                </a:lnTo>
                <a:cubicBezTo>
                  <a:pt x="-28010" y="1913498"/>
                  <a:pt x="-28010" y="1731844"/>
                  <a:pt x="84031" y="1619803"/>
                </a:cubicBezTo>
                <a:lnTo>
                  <a:pt x="1619803" y="84031"/>
                </a:lnTo>
                <a:cubicBezTo>
                  <a:pt x="1675824" y="28010"/>
                  <a:pt x="1749248" y="0"/>
                  <a:pt x="1822671" y="0"/>
                </a:cubicBezTo>
                <a:close/>
              </a:path>
            </a:pathLst>
          </a:custGeom>
        </p:spPr>
        <p:txBody>
          <a:bodyPr wrap="square" lIns="34263" tIns="17127" rIns="34263" bIns="17127">
            <a:noAutofit/>
          </a:bodyPr>
          <a:lstStyle/>
          <a:p>
            <a:pPr lvl="0"/>
            <a:endParaRPr lang="id-ID" noProof="0" dirty="0">
              <a:sym typeface="Roboto Regular"/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7409105" y="1617512"/>
            <a:ext cx="1480208" cy="1818030"/>
          </a:xfrm>
          <a:custGeom>
            <a:avLst/>
            <a:gdLst>
              <a:gd name="connsiteX0" fmla="*/ 1822671 w 3645342"/>
              <a:gd name="connsiteY0" fmla="*/ 0 h 3645342"/>
              <a:gd name="connsiteX1" fmla="*/ 2025539 w 3645342"/>
              <a:gd name="connsiteY1" fmla="*/ 84031 h 3645342"/>
              <a:gd name="connsiteX2" fmla="*/ 3561312 w 3645342"/>
              <a:gd name="connsiteY2" fmla="*/ 1619803 h 3645342"/>
              <a:gd name="connsiteX3" fmla="*/ 3561312 w 3645342"/>
              <a:gd name="connsiteY3" fmla="*/ 2025539 h 3645342"/>
              <a:gd name="connsiteX4" fmla="*/ 2025539 w 3645342"/>
              <a:gd name="connsiteY4" fmla="*/ 3561312 h 3645342"/>
              <a:gd name="connsiteX5" fmla="*/ 1619803 w 3645342"/>
              <a:gd name="connsiteY5" fmla="*/ 3561312 h 3645342"/>
              <a:gd name="connsiteX6" fmla="*/ 84031 w 3645342"/>
              <a:gd name="connsiteY6" fmla="*/ 2025539 h 3645342"/>
              <a:gd name="connsiteX7" fmla="*/ 84031 w 3645342"/>
              <a:gd name="connsiteY7" fmla="*/ 1619803 h 3645342"/>
              <a:gd name="connsiteX8" fmla="*/ 1619803 w 3645342"/>
              <a:gd name="connsiteY8" fmla="*/ 84031 h 3645342"/>
              <a:gd name="connsiteX9" fmla="*/ 1822671 w 3645342"/>
              <a:gd name="connsiteY9" fmla="*/ 0 h 364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45342" h="3645342">
                <a:moveTo>
                  <a:pt x="1822671" y="0"/>
                </a:moveTo>
                <a:cubicBezTo>
                  <a:pt x="1896095" y="0"/>
                  <a:pt x="1969519" y="28010"/>
                  <a:pt x="2025539" y="84031"/>
                </a:cubicBezTo>
                <a:lnTo>
                  <a:pt x="3561312" y="1619803"/>
                </a:lnTo>
                <a:cubicBezTo>
                  <a:pt x="3673353" y="1731844"/>
                  <a:pt x="3673353" y="1913498"/>
                  <a:pt x="3561312" y="2025539"/>
                </a:cubicBezTo>
                <a:lnTo>
                  <a:pt x="2025539" y="3561312"/>
                </a:lnTo>
                <a:cubicBezTo>
                  <a:pt x="1913498" y="3673353"/>
                  <a:pt x="1731844" y="3673353"/>
                  <a:pt x="1619803" y="3561312"/>
                </a:cubicBezTo>
                <a:lnTo>
                  <a:pt x="84031" y="2025539"/>
                </a:lnTo>
                <a:cubicBezTo>
                  <a:pt x="-28010" y="1913498"/>
                  <a:pt x="-28010" y="1731844"/>
                  <a:pt x="84031" y="1619803"/>
                </a:cubicBezTo>
                <a:lnTo>
                  <a:pt x="1619803" y="84031"/>
                </a:lnTo>
                <a:cubicBezTo>
                  <a:pt x="1675824" y="28010"/>
                  <a:pt x="1749248" y="0"/>
                  <a:pt x="1822671" y="0"/>
                </a:cubicBezTo>
                <a:close/>
              </a:path>
            </a:pathLst>
          </a:custGeom>
        </p:spPr>
        <p:txBody>
          <a:bodyPr wrap="square" lIns="34263" tIns="17127" rIns="34263" bIns="17127">
            <a:noAutofit/>
          </a:bodyPr>
          <a:lstStyle/>
          <a:p>
            <a:pPr lvl="0"/>
            <a:endParaRPr lang="id-ID" noProof="0">
              <a:sym typeface="Roboto Regular"/>
            </a:endParaRP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5"/>
          </p:nvPr>
        </p:nvSpPr>
        <p:spPr>
          <a:xfrm>
            <a:off x="4919575" y="4227007"/>
            <a:ext cx="1480208" cy="1818030"/>
          </a:xfrm>
          <a:custGeom>
            <a:avLst/>
            <a:gdLst>
              <a:gd name="connsiteX0" fmla="*/ 1822671 w 3645342"/>
              <a:gd name="connsiteY0" fmla="*/ 0 h 3645342"/>
              <a:gd name="connsiteX1" fmla="*/ 2025539 w 3645342"/>
              <a:gd name="connsiteY1" fmla="*/ 84031 h 3645342"/>
              <a:gd name="connsiteX2" fmla="*/ 3561312 w 3645342"/>
              <a:gd name="connsiteY2" fmla="*/ 1619803 h 3645342"/>
              <a:gd name="connsiteX3" fmla="*/ 3561312 w 3645342"/>
              <a:gd name="connsiteY3" fmla="*/ 2025539 h 3645342"/>
              <a:gd name="connsiteX4" fmla="*/ 2025539 w 3645342"/>
              <a:gd name="connsiteY4" fmla="*/ 3561312 h 3645342"/>
              <a:gd name="connsiteX5" fmla="*/ 1619803 w 3645342"/>
              <a:gd name="connsiteY5" fmla="*/ 3561312 h 3645342"/>
              <a:gd name="connsiteX6" fmla="*/ 84031 w 3645342"/>
              <a:gd name="connsiteY6" fmla="*/ 2025539 h 3645342"/>
              <a:gd name="connsiteX7" fmla="*/ 84031 w 3645342"/>
              <a:gd name="connsiteY7" fmla="*/ 1619803 h 3645342"/>
              <a:gd name="connsiteX8" fmla="*/ 1619803 w 3645342"/>
              <a:gd name="connsiteY8" fmla="*/ 84031 h 3645342"/>
              <a:gd name="connsiteX9" fmla="*/ 1822671 w 3645342"/>
              <a:gd name="connsiteY9" fmla="*/ 0 h 364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45342" h="3645342">
                <a:moveTo>
                  <a:pt x="1822671" y="0"/>
                </a:moveTo>
                <a:cubicBezTo>
                  <a:pt x="1896095" y="0"/>
                  <a:pt x="1969519" y="28010"/>
                  <a:pt x="2025539" y="84031"/>
                </a:cubicBezTo>
                <a:lnTo>
                  <a:pt x="3561312" y="1619803"/>
                </a:lnTo>
                <a:cubicBezTo>
                  <a:pt x="3673353" y="1731844"/>
                  <a:pt x="3673353" y="1913498"/>
                  <a:pt x="3561312" y="2025539"/>
                </a:cubicBezTo>
                <a:lnTo>
                  <a:pt x="2025539" y="3561312"/>
                </a:lnTo>
                <a:cubicBezTo>
                  <a:pt x="1913498" y="3673353"/>
                  <a:pt x="1731844" y="3673353"/>
                  <a:pt x="1619803" y="3561312"/>
                </a:cubicBezTo>
                <a:lnTo>
                  <a:pt x="84031" y="2025539"/>
                </a:lnTo>
                <a:cubicBezTo>
                  <a:pt x="-28010" y="1913498"/>
                  <a:pt x="-28010" y="1731844"/>
                  <a:pt x="84031" y="1619803"/>
                </a:cubicBezTo>
                <a:lnTo>
                  <a:pt x="1619803" y="84031"/>
                </a:lnTo>
                <a:cubicBezTo>
                  <a:pt x="1675824" y="28010"/>
                  <a:pt x="1749248" y="0"/>
                  <a:pt x="1822671" y="0"/>
                </a:cubicBezTo>
                <a:close/>
              </a:path>
            </a:pathLst>
          </a:custGeom>
        </p:spPr>
        <p:txBody>
          <a:bodyPr wrap="square" lIns="34263" tIns="17127" rIns="34263" bIns="17127">
            <a:noAutofit/>
          </a:bodyPr>
          <a:lstStyle/>
          <a:p>
            <a:pPr lvl="0"/>
            <a:endParaRPr lang="id-ID" noProof="0">
              <a:sym typeface="Roboto Regular"/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7409105" y="4227007"/>
            <a:ext cx="1480208" cy="1818030"/>
          </a:xfrm>
          <a:custGeom>
            <a:avLst/>
            <a:gdLst>
              <a:gd name="connsiteX0" fmla="*/ 1822671 w 3645342"/>
              <a:gd name="connsiteY0" fmla="*/ 0 h 3645342"/>
              <a:gd name="connsiteX1" fmla="*/ 2025539 w 3645342"/>
              <a:gd name="connsiteY1" fmla="*/ 84031 h 3645342"/>
              <a:gd name="connsiteX2" fmla="*/ 3561312 w 3645342"/>
              <a:gd name="connsiteY2" fmla="*/ 1619803 h 3645342"/>
              <a:gd name="connsiteX3" fmla="*/ 3561312 w 3645342"/>
              <a:gd name="connsiteY3" fmla="*/ 2025539 h 3645342"/>
              <a:gd name="connsiteX4" fmla="*/ 2025539 w 3645342"/>
              <a:gd name="connsiteY4" fmla="*/ 3561312 h 3645342"/>
              <a:gd name="connsiteX5" fmla="*/ 1619803 w 3645342"/>
              <a:gd name="connsiteY5" fmla="*/ 3561312 h 3645342"/>
              <a:gd name="connsiteX6" fmla="*/ 84031 w 3645342"/>
              <a:gd name="connsiteY6" fmla="*/ 2025539 h 3645342"/>
              <a:gd name="connsiteX7" fmla="*/ 84031 w 3645342"/>
              <a:gd name="connsiteY7" fmla="*/ 1619803 h 3645342"/>
              <a:gd name="connsiteX8" fmla="*/ 1619803 w 3645342"/>
              <a:gd name="connsiteY8" fmla="*/ 84031 h 3645342"/>
              <a:gd name="connsiteX9" fmla="*/ 1822671 w 3645342"/>
              <a:gd name="connsiteY9" fmla="*/ 0 h 364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45342" h="3645342">
                <a:moveTo>
                  <a:pt x="1822671" y="0"/>
                </a:moveTo>
                <a:cubicBezTo>
                  <a:pt x="1896095" y="0"/>
                  <a:pt x="1969519" y="28010"/>
                  <a:pt x="2025539" y="84031"/>
                </a:cubicBezTo>
                <a:lnTo>
                  <a:pt x="3561312" y="1619803"/>
                </a:lnTo>
                <a:cubicBezTo>
                  <a:pt x="3673353" y="1731844"/>
                  <a:pt x="3673353" y="1913498"/>
                  <a:pt x="3561312" y="2025539"/>
                </a:cubicBezTo>
                <a:lnTo>
                  <a:pt x="2025539" y="3561312"/>
                </a:lnTo>
                <a:cubicBezTo>
                  <a:pt x="1913498" y="3673353"/>
                  <a:pt x="1731844" y="3673353"/>
                  <a:pt x="1619803" y="3561312"/>
                </a:cubicBezTo>
                <a:lnTo>
                  <a:pt x="84031" y="2025539"/>
                </a:lnTo>
                <a:cubicBezTo>
                  <a:pt x="-28010" y="1913498"/>
                  <a:pt x="-28010" y="1731844"/>
                  <a:pt x="84031" y="1619803"/>
                </a:cubicBezTo>
                <a:lnTo>
                  <a:pt x="1619803" y="84031"/>
                </a:lnTo>
                <a:cubicBezTo>
                  <a:pt x="1675824" y="28010"/>
                  <a:pt x="1749248" y="0"/>
                  <a:pt x="1822671" y="0"/>
                </a:cubicBezTo>
                <a:close/>
              </a:path>
            </a:pathLst>
          </a:custGeom>
        </p:spPr>
        <p:txBody>
          <a:bodyPr wrap="square" lIns="34263" tIns="17127" rIns="34263" bIns="17127">
            <a:noAutofit/>
          </a:bodyPr>
          <a:lstStyle/>
          <a:p>
            <a:pPr lvl="0"/>
            <a:endParaRPr lang="id-ID" noProof="0">
              <a:sym typeface="Roboto Regular"/>
            </a:endParaRPr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7"/>
          </p:nvPr>
        </p:nvSpPr>
        <p:spPr>
          <a:xfrm>
            <a:off x="5681365" y="2337193"/>
            <a:ext cx="2459363" cy="3020653"/>
          </a:xfrm>
          <a:custGeom>
            <a:avLst/>
            <a:gdLst>
              <a:gd name="connsiteX0" fmla="*/ 1822671 w 3645342"/>
              <a:gd name="connsiteY0" fmla="*/ 0 h 3645342"/>
              <a:gd name="connsiteX1" fmla="*/ 2025539 w 3645342"/>
              <a:gd name="connsiteY1" fmla="*/ 84031 h 3645342"/>
              <a:gd name="connsiteX2" fmla="*/ 3561312 w 3645342"/>
              <a:gd name="connsiteY2" fmla="*/ 1619803 h 3645342"/>
              <a:gd name="connsiteX3" fmla="*/ 3561312 w 3645342"/>
              <a:gd name="connsiteY3" fmla="*/ 2025539 h 3645342"/>
              <a:gd name="connsiteX4" fmla="*/ 2025539 w 3645342"/>
              <a:gd name="connsiteY4" fmla="*/ 3561312 h 3645342"/>
              <a:gd name="connsiteX5" fmla="*/ 1619803 w 3645342"/>
              <a:gd name="connsiteY5" fmla="*/ 3561312 h 3645342"/>
              <a:gd name="connsiteX6" fmla="*/ 84031 w 3645342"/>
              <a:gd name="connsiteY6" fmla="*/ 2025539 h 3645342"/>
              <a:gd name="connsiteX7" fmla="*/ 84031 w 3645342"/>
              <a:gd name="connsiteY7" fmla="*/ 1619803 h 3645342"/>
              <a:gd name="connsiteX8" fmla="*/ 1619803 w 3645342"/>
              <a:gd name="connsiteY8" fmla="*/ 84031 h 3645342"/>
              <a:gd name="connsiteX9" fmla="*/ 1822671 w 3645342"/>
              <a:gd name="connsiteY9" fmla="*/ 0 h 364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45342" h="3645342">
                <a:moveTo>
                  <a:pt x="1822671" y="0"/>
                </a:moveTo>
                <a:cubicBezTo>
                  <a:pt x="1896095" y="0"/>
                  <a:pt x="1969519" y="28010"/>
                  <a:pt x="2025539" y="84031"/>
                </a:cubicBezTo>
                <a:lnTo>
                  <a:pt x="3561312" y="1619803"/>
                </a:lnTo>
                <a:cubicBezTo>
                  <a:pt x="3673353" y="1731844"/>
                  <a:pt x="3673353" y="1913498"/>
                  <a:pt x="3561312" y="2025539"/>
                </a:cubicBezTo>
                <a:lnTo>
                  <a:pt x="2025539" y="3561312"/>
                </a:lnTo>
                <a:cubicBezTo>
                  <a:pt x="1913498" y="3673353"/>
                  <a:pt x="1731844" y="3673353"/>
                  <a:pt x="1619803" y="3561312"/>
                </a:cubicBezTo>
                <a:lnTo>
                  <a:pt x="84031" y="2025539"/>
                </a:lnTo>
                <a:cubicBezTo>
                  <a:pt x="-28010" y="1913498"/>
                  <a:pt x="-28010" y="1731844"/>
                  <a:pt x="84031" y="1619803"/>
                </a:cubicBezTo>
                <a:lnTo>
                  <a:pt x="1619803" y="84031"/>
                </a:lnTo>
                <a:cubicBezTo>
                  <a:pt x="1675824" y="28010"/>
                  <a:pt x="1749248" y="0"/>
                  <a:pt x="1822671" y="0"/>
                </a:cubicBezTo>
                <a:close/>
              </a:path>
            </a:pathLst>
          </a:custGeom>
        </p:spPr>
        <p:txBody>
          <a:bodyPr wrap="square" lIns="34263" tIns="17127" rIns="34263" bIns="17127">
            <a:noAutofit/>
          </a:bodyPr>
          <a:lstStyle/>
          <a:p>
            <a:pPr lvl="0"/>
            <a:endParaRPr lang="id-ID" noProof="0">
              <a:sym typeface="Roboto Regular"/>
            </a:endParaRPr>
          </a:p>
        </p:txBody>
      </p:sp>
      <p:sp>
        <p:nvSpPr>
          <p:cNvPr id="7" name="Shape 6"/>
          <p:cNvSpPr>
            <a:spLocks noGrp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3543D62-C9CA-4206-8E3F-AEE71BA0C5FE}" type="slidenum">
              <a:rPr lang="ru-RU" altLang="ru-RU">
                <a:solidFill>
                  <a:srgbClr val="000000"/>
                </a:solidFill>
              </a:rPr>
              <a:pPr/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545479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10"/>
          <p:cNvSpPr>
            <a:spLocks noGrp="1"/>
          </p:cNvSpPr>
          <p:nvPr>
            <p:ph type="sldNum" sz="quarter" idx="10"/>
          </p:nvPr>
        </p:nvSpPr>
        <p:spPr>
          <a:xfrm>
            <a:off x="7094178" y="6329096"/>
            <a:ext cx="2310289" cy="36419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E651A8AB-4145-4B48-990D-279005DA2704}" type="slidenum">
              <a:rPr lang="ru-RU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2"/>
          </p:nvPr>
        </p:nvSpPr>
        <p:spPr>
          <a:xfrm>
            <a:off x="9" y="9"/>
            <a:ext cx="8240037" cy="266021"/>
          </a:xfrm>
          <a:prstGeom prst="rect">
            <a:avLst/>
          </a:prstGeom>
        </p:spPr>
        <p:txBody>
          <a:bodyPr vert="horz" lIns="91231" tIns="45611" rIns="91231" bIns="45611" rtlCol="0" anchor="t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pPr defTabSz="911332"/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523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2"/>
          <p:cNvSpPr>
            <a:spLocks noGrp="1"/>
          </p:cNvSpPr>
          <p:nvPr>
            <p:ph type="title"/>
          </p:nvPr>
        </p:nvSpPr>
        <p:spPr>
          <a:xfrm>
            <a:off x="0" y="0"/>
            <a:ext cx="2160000" cy="640800"/>
          </a:xfrm>
          <a:prstGeom prst="rect">
            <a:avLst/>
          </a:prstGeom>
          <a:ln>
            <a:noFill/>
          </a:ln>
        </p:spPr>
        <p:txBody>
          <a:bodyPr vert="horz" lIns="0" tIns="35899" rIns="0" bIns="35899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0"/>
          </p:nvPr>
        </p:nvSpPr>
        <p:spPr>
          <a:xfrm>
            <a:off x="2161238" y="-1"/>
            <a:ext cx="7740000" cy="64800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lvl1pPr marL="0" indent="0">
              <a:buNone/>
              <a:defRPr lang="ru-RU" sz="1800" b="1" kern="1200" cap="small" spc="1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ru-RU" sz="1800" kern="1200" smtClean="0">
                <a:ea typeface="+mn-ea"/>
              </a:defRPr>
            </a:lvl2pPr>
            <a:lvl3pPr>
              <a:defRPr lang="ru-RU" sz="1800" kern="1200" smtClean="0">
                <a:ea typeface="+mn-ea"/>
              </a:defRPr>
            </a:lvl3pPr>
            <a:lvl4pPr>
              <a:defRPr lang="ru-RU" sz="1800" kern="1200" smtClean="0">
                <a:ea typeface="+mn-ea"/>
              </a:defRPr>
            </a:lvl4pPr>
            <a:lvl5pPr>
              <a:defRPr lang="ru-RU" sz="1800" kern="1200">
                <a:ea typeface="+mn-ea"/>
              </a:defRPr>
            </a:lvl5pPr>
          </a:lstStyle>
          <a:p>
            <a:pPr marL="0" lvl="0" defTabSz="912168" eaLnBrk="1" latinLnBrk="0" hangingPunct="1"/>
            <a:r>
              <a:rPr lang="ru-RU" dirty="0" smtClean="0"/>
              <a:t>Образец текста</a:t>
            </a:r>
          </a:p>
        </p:txBody>
      </p:sp>
      <p:sp>
        <p:nvSpPr>
          <p:cNvPr id="9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407187" y="6368442"/>
            <a:ext cx="2310289" cy="364195"/>
          </a:xfrm>
          <a:prstGeom prst="rect">
            <a:avLst/>
          </a:prstGeom>
        </p:spPr>
        <p:txBody>
          <a:bodyPr lIns="91159" tIns="45571" rIns="91159" bIns="4557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2818">
              <a:defRPr/>
            </a:pPr>
            <a:fld id="{E651A8AB-4145-4B48-990D-279005DA2704}" type="slidenum">
              <a:rPr lang="ru-RU" smtClean="0">
                <a:solidFill>
                  <a:srgbClr val="000000"/>
                </a:solidFill>
              </a:rPr>
              <a:pPr defTabSz="912818"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084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2999" y="-35512"/>
            <a:ext cx="9895241" cy="6228581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/>
              </a:gs>
              <a:gs pos="51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flat" cmpd="sng" algn="ctr">
            <a:noFill/>
            <a:prstDash val="sysDot"/>
            <a:round/>
            <a:headEnd type="none" w="lg" len="lg"/>
            <a:tailEnd type="none" w="lg" len="lg"/>
          </a:ln>
          <a:effectLst/>
        </p:spPr>
        <p:txBody>
          <a:bodyPr vert="horz" wrap="none" lIns="91159" tIns="91159" rIns="91159" bIns="91159" numCol="1" rtlCol="0" anchor="ctr" anchorCtr="0" compatLnSpc="1">
            <a:prstTxWarp prst="textNoShape">
              <a:avLst/>
            </a:prstTxWarp>
          </a:bodyPr>
          <a:lstStyle/>
          <a:p>
            <a:pPr algn="ctr" defTabSz="911540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6980" y="1240417"/>
            <a:ext cx="9444258" cy="1804143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2400" b="1" cap="none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407187" y="6368442"/>
            <a:ext cx="2310289" cy="364195"/>
          </a:xfrm>
          <a:prstGeom prst="rect">
            <a:avLst/>
          </a:prstGeom>
        </p:spPr>
        <p:txBody>
          <a:bodyPr lIns="91159" tIns="45571" rIns="91159" bIns="4557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2818">
              <a:defRPr/>
            </a:pPr>
            <a:fld id="{E651A8AB-4145-4B48-990D-279005DA2704}" type="slidenum">
              <a:rPr lang="ru-RU" smtClean="0">
                <a:solidFill>
                  <a:srgbClr val="000000"/>
                </a:solidFill>
              </a:rPr>
              <a:pPr defTabSz="912818"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82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9"/>
            <a:ext cx="9901238" cy="607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1052061" y="2666115"/>
            <a:ext cx="7757688" cy="574796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600" cap="none" baseline="0">
                <a:solidFill>
                  <a:srgbClr val="96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idx="1"/>
          </p:nvPr>
        </p:nvSpPr>
        <p:spPr>
          <a:xfrm>
            <a:off x="1052078" y="4500395"/>
            <a:ext cx="7758131" cy="574597"/>
          </a:xfrm>
          <a:prstGeom prst="rect">
            <a:avLst/>
          </a:prstGeom>
        </p:spPr>
        <p:txBody>
          <a:bodyPr lIns="91159" tIns="45571" rIns="91159" bIns="45571" anchor="b"/>
          <a:lstStyle>
            <a:lvl1pPr marL="0" indent="0" algn="ctr">
              <a:buNone/>
              <a:defRPr sz="2800" b="1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5771" indent="0">
              <a:buNone/>
              <a:defRPr sz="1800"/>
            </a:lvl2pPr>
            <a:lvl3pPr marL="911540" indent="0">
              <a:buNone/>
              <a:defRPr sz="1600"/>
            </a:lvl3pPr>
            <a:lvl4pPr marL="1367311" indent="0">
              <a:buNone/>
              <a:defRPr sz="1400"/>
            </a:lvl4pPr>
            <a:lvl5pPr marL="1823081" indent="0">
              <a:buNone/>
              <a:defRPr sz="1400"/>
            </a:lvl5pPr>
            <a:lvl6pPr marL="2278853" indent="0">
              <a:buNone/>
              <a:defRPr sz="1400"/>
            </a:lvl6pPr>
            <a:lvl7pPr marL="2734621" indent="0">
              <a:buNone/>
              <a:defRPr sz="1400"/>
            </a:lvl7pPr>
            <a:lvl8pPr marL="3190391" indent="0">
              <a:buNone/>
              <a:defRPr sz="1400"/>
            </a:lvl8pPr>
            <a:lvl9pPr marL="364616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6077330"/>
            <a:ext cx="9901856" cy="763208"/>
            <a:chOff x="0" y="6177684"/>
            <a:chExt cx="9901856" cy="648000"/>
          </a:xfrm>
        </p:grpSpPr>
        <p:pic>
          <p:nvPicPr>
            <p:cNvPr id="10" name="Picture 3" descr="rs_present03.jpg"/>
            <p:cNvPicPr>
              <a:picLocks noChangeAspect="1"/>
            </p:cNvPicPr>
            <p:nvPr userDrawn="1"/>
          </p:nvPicPr>
          <p:blipFill rotWithShape="1">
            <a:blip r:embed="rId3" cstate="print"/>
            <a:srcRect t="63757" b="19726"/>
            <a:stretch/>
          </p:blipFill>
          <p:spPr bwMode="auto">
            <a:xfrm rot="10800000">
              <a:off x="0" y="6177684"/>
              <a:ext cx="5240590" cy="64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Picture 3" descr="rs_present03.jpg"/>
            <p:cNvPicPr>
              <a:picLocks noChangeAspect="1"/>
            </p:cNvPicPr>
            <p:nvPr userDrawn="1"/>
          </p:nvPicPr>
          <p:blipFill rotWithShape="1">
            <a:blip r:embed="rId3" cstate="print"/>
            <a:srcRect l="4794" t="63757" b="19726"/>
            <a:stretch/>
          </p:blipFill>
          <p:spPr bwMode="auto">
            <a:xfrm rot="10800000">
              <a:off x="4912519" y="6177684"/>
              <a:ext cx="4989337" cy="648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2" name="Picture 1696" descr="logo-main.png (469×58)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525" y="6288253"/>
            <a:ext cx="3691922" cy="456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8762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l="1853"/>
          <a:stretch/>
        </p:blipFill>
        <p:spPr bwMode="auto">
          <a:xfrm>
            <a:off x="0" y="0"/>
            <a:ext cx="9901238" cy="619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1052061" y="2666115"/>
            <a:ext cx="7757688" cy="574796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600" cap="none" baseline="0">
                <a:solidFill>
                  <a:srgbClr val="96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idx="1"/>
          </p:nvPr>
        </p:nvSpPr>
        <p:spPr>
          <a:xfrm>
            <a:off x="1052096" y="5510042"/>
            <a:ext cx="7758131" cy="574597"/>
          </a:xfrm>
          <a:prstGeom prst="rect">
            <a:avLst/>
          </a:prstGeom>
        </p:spPr>
        <p:txBody>
          <a:bodyPr lIns="90980" tIns="45481" rIns="90980" bIns="45481" anchor="b"/>
          <a:lstStyle>
            <a:lvl1pPr marL="0" indent="0" algn="ctr">
              <a:buNone/>
              <a:defRPr sz="1800" b="0" cap="small" baseline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4936" indent="0">
              <a:buNone/>
              <a:defRPr sz="1800"/>
            </a:lvl2pPr>
            <a:lvl3pPr marL="909870" indent="0">
              <a:buNone/>
              <a:defRPr sz="1600"/>
            </a:lvl3pPr>
            <a:lvl4pPr marL="1364807" indent="0">
              <a:buNone/>
              <a:defRPr sz="1400"/>
            </a:lvl4pPr>
            <a:lvl5pPr marL="1819743" indent="0">
              <a:buNone/>
              <a:defRPr sz="1400"/>
            </a:lvl5pPr>
            <a:lvl6pPr marL="2274679" indent="0">
              <a:buNone/>
              <a:defRPr sz="1400"/>
            </a:lvl6pPr>
            <a:lvl7pPr marL="2729614" indent="0">
              <a:buNone/>
              <a:defRPr sz="1400"/>
            </a:lvl7pPr>
            <a:lvl8pPr marL="3184549" indent="0">
              <a:buNone/>
              <a:defRPr sz="1400"/>
            </a:lvl8pPr>
            <a:lvl9pPr marL="3639485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6192538"/>
            <a:ext cx="9901856" cy="648000"/>
            <a:chOff x="0" y="6177684"/>
            <a:chExt cx="9901856" cy="648000"/>
          </a:xfrm>
        </p:grpSpPr>
        <p:pic>
          <p:nvPicPr>
            <p:cNvPr id="10" name="Picture 3" descr="rs_present03.jpg"/>
            <p:cNvPicPr>
              <a:picLocks noChangeAspect="1"/>
            </p:cNvPicPr>
            <p:nvPr userDrawn="1"/>
          </p:nvPicPr>
          <p:blipFill rotWithShape="1">
            <a:blip r:embed="rId3" cstate="print"/>
            <a:srcRect t="63757" b="19726"/>
            <a:stretch/>
          </p:blipFill>
          <p:spPr bwMode="auto">
            <a:xfrm rot="10800000">
              <a:off x="0" y="6177684"/>
              <a:ext cx="5240590" cy="64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Picture 3" descr="rs_present03.jpg"/>
            <p:cNvPicPr>
              <a:picLocks noChangeAspect="1"/>
            </p:cNvPicPr>
            <p:nvPr userDrawn="1"/>
          </p:nvPicPr>
          <p:blipFill rotWithShape="1">
            <a:blip r:embed="rId3" cstate="print"/>
            <a:srcRect l="4794" t="63757" b="19726"/>
            <a:stretch/>
          </p:blipFill>
          <p:spPr bwMode="auto">
            <a:xfrm rot="10800000">
              <a:off x="4912519" y="6177684"/>
              <a:ext cx="4989337" cy="648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2" name="Picture 1696" descr="logo-main.png (469×58)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525" y="6288271"/>
            <a:ext cx="3691922" cy="456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Прямая соединительная линия 12"/>
          <p:cNvCxnSpPr>
            <a:cxnSpLocks noChangeShapeType="1"/>
          </p:cNvCxnSpPr>
          <p:nvPr userDrawn="1"/>
        </p:nvCxnSpPr>
        <p:spPr bwMode="auto">
          <a:xfrm>
            <a:off x="619" y="6192538"/>
            <a:ext cx="9901238" cy="0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 type="none" w="lg" len="lg"/>
            <a:tailEnd type="none" w="lg" len="lg"/>
          </a:ln>
        </p:spPr>
      </p:cxnSp>
    </p:spTree>
    <p:extLst>
      <p:ext uri="{BB962C8B-B14F-4D97-AF65-F5344CB8AC3E}">
        <p14:creationId xmlns:p14="http://schemas.microsoft.com/office/powerpoint/2010/main" val="493132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9043206" y="6318036"/>
            <a:ext cx="676800" cy="364195"/>
          </a:xfrm>
          <a:prstGeom prst="rect">
            <a:avLst/>
          </a:prstGeom>
        </p:spPr>
        <p:txBody>
          <a:bodyPr lIns="91249" tIns="45621" rIns="91249" bIns="45621"/>
          <a:lstStyle>
            <a:lvl1pPr algn="ctr">
              <a:defRPr/>
            </a:lvl1pPr>
          </a:lstStyle>
          <a:p>
            <a:pPr>
              <a:defRPr/>
            </a:pPr>
            <a:fld id="{E651A8AB-4145-4B48-990D-279005DA2704}" type="slidenum">
              <a:rPr lang="ru-RU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454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246034" y="-1"/>
            <a:ext cx="1655204" cy="792000"/>
          </a:xfrm>
        </p:spPr>
        <p:txBody>
          <a:bodyPr>
            <a:normAutofit/>
          </a:bodyPr>
          <a:lstStyle>
            <a:lvl1pPr>
              <a:defRPr sz="1200" b="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2"/>
          </p:nvPr>
        </p:nvSpPr>
        <p:spPr>
          <a:xfrm>
            <a:off x="135" y="135"/>
            <a:ext cx="8240037" cy="266021"/>
          </a:xfrm>
          <a:prstGeom prst="rect">
            <a:avLst/>
          </a:prstGeom>
        </p:spPr>
        <p:txBody>
          <a:bodyPr vert="horz" lIns="90062" tIns="45044" rIns="90062" bIns="45044" rtlCol="0" anchor="t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pPr defTabSz="901917" fontAlgn="base">
              <a:spcBef>
                <a:spcPct val="0"/>
              </a:spcBef>
              <a:spcAft>
                <a:spcPct val="0"/>
              </a:spcAft>
            </a:pPr>
            <a:fld id="{440E8CD2-F250-4719-9921-3E14E50AA51E}" type="datetimeFigureOut">
              <a:rPr lang="ru-RU" b="1" smtClean="0">
                <a:solidFill>
                  <a:srgbClr val="000000"/>
                </a:solidFill>
              </a:rPr>
              <a:pPr defTabSz="901917" fontAlgn="base">
                <a:spcBef>
                  <a:spcPct val="0"/>
                </a:spcBef>
                <a:spcAft>
                  <a:spcPct val="0"/>
                </a:spcAft>
              </a:pPr>
              <a:t>21.11.2022</a:t>
            </a:fld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5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392858" y="6317766"/>
            <a:ext cx="2310289" cy="364195"/>
          </a:xfrm>
          <a:prstGeom prst="rect">
            <a:avLst/>
          </a:prstGeom>
        </p:spPr>
        <p:txBody>
          <a:bodyPr lIns="90062" tIns="45044" rIns="90062" bIns="45044"/>
          <a:lstStyle>
            <a:lvl1pPr algn="r">
              <a:defRPr/>
            </a:lvl1pPr>
          </a:lstStyle>
          <a:p>
            <a:pPr defTabSz="901917">
              <a:defRPr/>
            </a:pPr>
            <a:fld id="{E651A8AB-4145-4B48-990D-279005DA2704}" type="slidenum">
              <a:rPr lang="ru-RU" smtClean="0">
                <a:solidFill>
                  <a:srgbClr val="FFFFFF"/>
                </a:solidFill>
              </a:rPr>
              <a:pPr defTabSz="901917"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427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246034" y="-1"/>
            <a:ext cx="1655204" cy="792000"/>
          </a:xfrm>
        </p:spPr>
        <p:txBody>
          <a:bodyPr>
            <a:normAutofit/>
          </a:bodyPr>
          <a:lstStyle>
            <a:lvl1pPr>
              <a:defRPr sz="1200" b="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2"/>
          </p:nvPr>
        </p:nvSpPr>
        <p:spPr>
          <a:xfrm>
            <a:off x="23" y="23"/>
            <a:ext cx="8240037" cy="266021"/>
          </a:xfrm>
          <a:prstGeom prst="rect">
            <a:avLst/>
          </a:prstGeom>
        </p:spPr>
        <p:txBody>
          <a:bodyPr vert="horz" lIns="91100" tIns="45541" rIns="91100" bIns="45541" rtlCol="0" anchor="t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pPr defTabSz="912261" fontAlgn="base">
              <a:spcBef>
                <a:spcPct val="0"/>
              </a:spcBef>
              <a:spcAft>
                <a:spcPct val="0"/>
              </a:spcAft>
            </a:pPr>
            <a:fld id="{440E8CD2-F250-4719-9921-3E14E50AA51E}" type="datetimeFigureOut">
              <a:rPr lang="ru-RU" b="1" smtClean="0">
                <a:solidFill>
                  <a:srgbClr val="000000"/>
                </a:solidFill>
              </a:rPr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t>21.11.2022</a:t>
            </a:fld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5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392858" y="6317654"/>
            <a:ext cx="2310289" cy="364195"/>
          </a:xfrm>
          <a:prstGeom prst="rect">
            <a:avLst/>
          </a:prstGeom>
        </p:spPr>
        <p:txBody>
          <a:bodyPr lIns="91100" tIns="45541" rIns="91100" bIns="45541"/>
          <a:lstStyle>
            <a:lvl1pPr algn="r">
              <a:defRPr/>
            </a:lvl1pPr>
          </a:lstStyle>
          <a:p>
            <a:pPr defTabSz="912261">
              <a:defRPr/>
            </a:pPr>
            <a:fld id="{E651A8AB-4145-4B48-990D-279005DA2704}" type="slidenum">
              <a:rPr lang="ru-RU" smtClean="0">
                <a:solidFill>
                  <a:srgbClr val="FFFFFF"/>
                </a:solidFill>
              </a:rPr>
              <a:pPr defTabSz="912261"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88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95080" y="6340184"/>
            <a:ext cx="2310289" cy="364195"/>
          </a:xfrm>
          <a:prstGeom prst="rect">
            <a:avLst/>
          </a:prstGeom>
        </p:spPr>
        <p:txBody>
          <a:bodyPr lIns="91278" tIns="45630" rIns="91278" bIns="45630"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382923" y="6340184"/>
            <a:ext cx="3135392" cy="364195"/>
          </a:xfrm>
          <a:prstGeom prst="rect">
            <a:avLst/>
          </a:prstGeom>
        </p:spPr>
        <p:txBody>
          <a:bodyPr lIns="91278" tIns="45630" rIns="91278" bIns="45630"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35B4B-099B-4474-9EF2-74C3E543C4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99784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593" y="2125019"/>
            <a:ext cx="8416052" cy="146628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186" y="3876305"/>
            <a:ext cx="6930867" cy="1748137"/>
          </a:xfrm>
          <a:prstGeom prst="rect">
            <a:avLst/>
          </a:prstGeom>
        </p:spPr>
        <p:txBody>
          <a:bodyPr lIns="91278" tIns="45630" rIns="91278" bIns="45630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9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080" y="6340184"/>
            <a:ext cx="2310289" cy="364195"/>
          </a:xfrm>
          <a:prstGeom prst="rect">
            <a:avLst/>
          </a:prstGeom>
        </p:spPr>
        <p:txBody>
          <a:bodyPr lIns="91278" tIns="45630" rIns="91278" bIns="45630"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2923" y="6340184"/>
            <a:ext cx="3135392" cy="364195"/>
          </a:xfrm>
          <a:prstGeom prst="rect">
            <a:avLst/>
          </a:prstGeom>
        </p:spPr>
        <p:txBody>
          <a:bodyPr lIns="91278" tIns="45630" rIns="91278" bIns="45630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35B4B-099B-4474-9EF2-74C3E543C4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55853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ma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4919575" y="1617512"/>
            <a:ext cx="1480208" cy="1818030"/>
          </a:xfrm>
          <a:custGeom>
            <a:avLst/>
            <a:gdLst>
              <a:gd name="connsiteX0" fmla="*/ 1822671 w 3645342"/>
              <a:gd name="connsiteY0" fmla="*/ 0 h 3645342"/>
              <a:gd name="connsiteX1" fmla="*/ 2025539 w 3645342"/>
              <a:gd name="connsiteY1" fmla="*/ 84031 h 3645342"/>
              <a:gd name="connsiteX2" fmla="*/ 3561312 w 3645342"/>
              <a:gd name="connsiteY2" fmla="*/ 1619803 h 3645342"/>
              <a:gd name="connsiteX3" fmla="*/ 3561312 w 3645342"/>
              <a:gd name="connsiteY3" fmla="*/ 2025539 h 3645342"/>
              <a:gd name="connsiteX4" fmla="*/ 2025539 w 3645342"/>
              <a:gd name="connsiteY4" fmla="*/ 3561312 h 3645342"/>
              <a:gd name="connsiteX5" fmla="*/ 1619803 w 3645342"/>
              <a:gd name="connsiteY5" fmla="*/ 3561312 h 3645342"/>
              <a:gd name="connsiteX6" fmla="*/ 84031 w 3645342"/>
              <a:gd name="connsiteY6" fmla="*/ 2025539 h 3645342"/>
              <a:gd name="connsiteX7" fmla="*/ 84031 w 3645342"/>
              <a:gd name="connsiteY7" fmla="*/ 1619803 h 3645342"/>
              <a:gd name="connsiteX8" fmla="*/ 1619803 w 3645342"/>
              <a:gd name="connsiteY8" fmla="*/ 84031 h 3645342"/>
              <a:gd name="connsiteX9" fmla="*/ 1822671 w 3645342"/>
              <a:gd name="connsiteY9" fmla="*/ 0 h 364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45342" h="3645342">
                <a:moveTo>
                  <a:pt x="1822671" y="0"/>
                </a:moveTo>
                <a:cubicBezTo>
                  <a:pt x="1896095" y="0"/>
                  <a:pt x="1969519" y="28010"/>
                  <a:pt x="2025539" y="84031"/>
                </a:cubicBezTo>
                <a:lnTo>
                  <a:pt x="3561312" y="1619803"/>
                </a:lnTo>
                <a:cubicBezTo>
                  <a:pt x="3673353" y="1731844"/>
                  <a:pt x="3673353" y="1913498"/>
                  <a:pt x="3561312" y="2025539"/>
                </a:cubicBezTo>
                <a:lnTo>
                  <a:pt x="2025539" y="3561312"/>
                </a:lnTo>
                <a:cubicBezTo>
                  <a:pt x="1913498" y="3673353"/>
                  <a:pt x="1731844" y="3673353"/>
                  <a:pt x="1619803" y="3561312"/>
                </a:cubicBezTo>
                <a:lnTo>
                  <a:pt x="84031" y="2025539"/>
                </a:lnTo>
                <a:cubicBezTo>
                  <a:pt x="-28010" y="1913498"/>
                  <a:pt x="-28010" y="1731844"/>
                  <a:pt x="84031" y="1619803"/>
                </a:cubicBezTo>
                <a:lnTo>
                  <a:pt x="1619803" y="84031"/>
                </a:lnTo>
                <a:cubicBezTo>
                  <a:pt x="1675824" y="28010"/>
                  <a:pt x="1749248" y="0"/>
                  <a:pt x="1822671" y="0"/>
                </a:cubicBezTo>
                <a:close/>
              </a:path>
            </a:pathLst>
          </a:custGeom>
        </p:spPr>
        <p:txBody>
          <a:bodyPr wrap="square" lIns="34236" tIns="17109" rIns="34236" bIns="17109">
            <a:noAutofit/>
          </a:bodyPr>
          <a:lstStyle/>
          <a:p>
            <a:pPr lvl="0"/>
            <a:endParaRPr lang="id-ID" noProof="0" dirty="0">
              <a:sym typeface="Roboto Regular"/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7409105" y="1617512"/>
            <a:ext cx="1480208" cy="1818030"/>
          </a:xfrm>
          <a:custGeom>
            <a:avLst/>
            <a:gdLst>
              <a:gd name="connsiteX0" fmla="*/ 1822671 w 3645342"/>
              <a:gd name="connsiteY0" fmla="*/ 0 h 3645342"/>
              <a:gd name="connsiteX1" fmla="*/ 2025539 w 3645342"/>
              <a:gd name="connsiteY1" fmla="*/ 84031 h 3645342"/>
              <a:gd name="connsiteX2" fmla="*/ 3561312 w 3645342"/>
              <a:gd name="connsiteY2" fmla="*/ 1619803 h 3645342"/>
              <a:gd name="connsiteX3" fmla="*/ 3561312 w 3645342"/>
              <a:gd name="connsiteY3" fmla="*/ 2025539 h 3645342"/>
              <a:gd name="connsiteX4" fmla="*/ 2025539 w 3645342"/>
              <a:gd name="connsiteY4" fmla="*/ 3561312 h 3645342"/>
              <a:gd name="connsiteX5" fmla="*/ 1619803 w 3645342"/>
              <a:gd name="connsiteY5" fmla="*/ 3561312 h 3645342"/>
              <a:gd name="connsiteX6" fmla="*/ 84031 w 3645342"/>
              <a:gd name="connsiteY6" fmla="*/ 2025539 h 3645342"/>
              <a:gd name="connsiteX7" fmla="*/ 84031 w 3645342"/>
              <a:gd name="connsiteY7" fmla="*/ 1619803 h 3645342"/>
              <a:gd name="connsiteX8" fmla="*/ 1619803 w 3645342"/>
              <a:gd name="connsiteY8" fmla="*/ 84031 h 3645342"/>
              <a:gd name="connsiteX9" fmla="*/ 1822671 w 3645342"/>
              <a:gd name="connsiteY9" fmla="*/ 0 h 364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45342" h="3645342">
                <a:moveTo>
                  <a:pt x="1822671" y="0"/>
                </a:moveTo>
                <a:cubicBezTo>
                  <a:pt x="1896095" y="0"/>
                  <a:pt x="1969519" y="28010"/>
                  <a:pt x="2025539" y="84031"/>
                </a:cubicBezTo>
                <a:lnTo>
                  <a:pt x="3561312" y="1619803"/>
                </a:lnTo>
                <a:cubicBezTo>
                  <a:pt x="3673353" y="1731844"/>
                  <a:pt x="3673353" y="1913498"/>
                  <a:pt x="3561312" y="2025539"/>
                </a:cubicBezTo>
                <a:lnTo>
                  <a:pt x="2025539" y="3561312"/>
                </a:lnTo>
                <a:cubicBezTo>
                  <a:pt x="1913498" y="3673353"/>
                  <a:pt x="1731844" y="3673353"/>
                  <a:pt x="1619803" y="3561312"/>
                </a:cubicBezTo>
                <a:lnTo>
                  <a:pt x="84031" y="2025539"/>
                </a:lnTo>
                <a:cubicBezTo>
                  <a:pt x="-28010" y="1913498"/>
                  <a:pt x="-28010" y="1731844"/>
                  <a:pt x="84031" y="1619803"/>
                </a:cubicBezTo>
                <a:lnTo>
                  <a:pt x="1619803" y="84031"/>
                </a:lnTo>
                <a:cubicBezTo>
                  <a:pt x="1675824" y="28010"/>
                  <a:pt x="1749248" y="0"/>
                  <a:pt x="1822671" y="0"/>
                </a:cubicBezTo>
                <a:close/>
              </a:path>
            </a:pathLst>
          </a:custGeom>
        </p:spPr>
        <p:txBody>
          <a:bodyPr wrap="square" lIns="34236" tIns="17109" rIns="34236" bIns="17109">
            <a:noAutofit/>
          </a:bodyPr>
          <a:lstStyle/>
          <a:p>
            <a:pPr lvl="0"/>
            <a:endParaRPr lang="id-ID" noProof="0">
              <a:sym typeface="Roboto Regular"/>
            </a:endParaRP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5"/>
          </p:nvPr>
        </p:nvSpPr>
        <p:spPr>
          <a:xfrm>
            <a:off x="4919575" y="4227007"/>
            <a:ext cx="1480208" cy="1818030"/>
          </a:xfrm>
          <a:custGeom>
            <a:avLst/>
            <a:gdLst>
              <a:gd name="connsiteX0" fmla="*/ 1822671 w 3645342"/>
              <a:gd name="connsiteY0" fmla="*/ 0 h 3645342"/>
              <a:gd name="connsiteX1" fmla="*/ 2025539 w 3645342"/>
              <a:gd name="connsiteY1" fmla="*/ 84031 h 3645342"/>
              <a:gd name="connsiteX2" fmla="*/ 3561312 w 3645342"/>
              <a:gd name="connsiteY2" fmla="*/ 1619803 h 3645342"/>
              <a:gd name="connsiteX3" fmla="*/ 3561312 w 3645342"/>
              <a:gd name="connsiteY3" fmla="*/ 2025539 h 3645342"/>
              <a:gd name="connsiteX4" fmla="*/ 2025539 w 3645342"/>
              <a:gd name="connsiteY4" fmla="*/ 3561312 h 3645342"/>
              <a:gd name="connsiteX5" fmla="*/ 1619803 w 3645342"/>
              <a:gd name="connsiteY5" fmla="*/ 3561312 h 3645342"/>
              <a:gd name="connsiteX6" fmla="*/ 84031 w 3645342"/>
              <a:gd name="connsiteY6" fmla="*/ 2025539 h 3645342"/>
              <a:gd name="connsiteX7" fmla="*/ 84031 w 3645342"/>
              <a:gd name="connsiteY7" fmla="*/ 1619803 h 3645342"/>
              <a:gd name="connsiteX8" fmla="*/ 1619803 w 3645342"/>
              <a:gd name="connsiteY8" fmla="*/ 84031 h 3645342"/>
              <a:gd name="connsiteX9" fmla="*/ 1822671 w 3645342"/>
              <a:gd name="connsiteY9" fmla="*/ 0 h 364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45342" h="3645342">
                <a:moveTo>
                  <a:pt x="1822671" y="0"/>
                </a:moveTo>
                <a:cubicBezTo>
                  <a:pt x="1896095" y="0"/>
                  <a:pt x="1969519" y="28010"/>
                  <a:pt x="2025539" y="84031"/>
                </a:cubicBezTo>
                <a:lnTo>
                  <a:pt x="3561312" y="1619803"/>
                </a:lnTo>
                <a:cubicBezTo>
                  <a:pt x="3673353" y="1731844"/>
                  <a:pt x="3673353" y="1913498"/>
                  <a:pt x="3561312" y="2025539"/>
                </a:cubicBezTo>
                <a:lnTo>
                  <a:pt x="2025539" y="3561312"/>
                </a:lnTo>
                <a:cubicBezTo>
                  <a:pt x="1913498" y="3673353"/>
                  <a:pt x="1731844" y="3673353"/>
                  <a:pt x="1619803" y="3561312"/>
                </a:cubicBezTo>
                <a:lnTo>
                  <a:pt x="84031" y="2025539"/>
                </a:lnTo>
                <a:cubicBezTo>
                  <a:pt x="-28010" y="1913498"/>
                  <a:pt x="-28010" y="1731844"/>
                  <a:pt x="84031" y="1619803"/>
                </a:cubicBezTo>
                <a:lnTo>
                  <a:pt x="1619803" y="84031"/>
                </a:lnTo>
                <a:cubicBezTo>
                  <a:pt x="1675824" y="28010"/>
                  <a:pt x="1749248" y="0"/>
                  <a:pt x="1822671" y="0"/>
                </a:cubicBezTo>
                <a:close/>
              </a:path>
            </a:pathLst>
          </a:custGeom>
        </p:spPr>
        <p:txBody>
          <a:bodyPr wrap="square" lIns="34236" tIns="17109" rIns="34236" bIns="17109">
            <a:noAutofit/>
          </a:bodyPr>
          <a:lstStyle/>
          <a:p>
            <a:pPr lvl="0"/>
            <a:endParaRPr lang="id-ID" noProof="0">
              <a:sym typeface="Roboto Regular"/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7409105" y="4227007"/>
            <a:ext cx="1480208" cy="1818030"/>
          </a:xfrm>
          <a:custGeom>
            <a:avLst/>
            <a:gdLst>
              <a:gd name="connsiteX0" fmla="*/ 1822671 w 3645342"/>
              <a:gd name="connsiteY0" fmla="*/ 0 h 3645342"/>
              <a:gd name="connsiteX1" fmla="*/ 2025539 w 3645342"/>
              <a:gd name="connsiteY1" fmla="*/ 84031 h 3645342"/>
              <a:gd name="connsiteX2" fmla="*/ 3561312 w 3645342"/>
              <a:gd name="connsiteY2" fmla="*/ 1619803 h 3645342"/>
              <a:gd name="connsiteX3" fmla="*/ 3561312 w 3645342"/>
              <a:gd name="connsiteY3" fmla="*/ 2025539 h 3645342"/>
              <a:gd name="connsiteX4" fmla="*/ 2025539 w 3645342"/>
              <a:gd name="connsiteY4" fmla="*/ 3561312 h 3645342"/>
              <a:gd name="connsiteX5" fmla="*/ 1619803 w 3645342"/>
              <a:gd name="connsiteY5" fmla="*/ 3561312 h 3645342"/>
              <a:gd name="connsiteX6" fmla="*/ 84031 w 3645342"/>
              <a:gd name="connsiteY6" fmla="*/ 2025539 h 3645342"/>
              <a:gd name="connsiteX7" fmla="*/ 84031 w 3645342"/>
              <a:gd name="connsiteY7" fmla="*/ 1619803 h 3645342"/>
              <a:gd name="connsiteX8" fmla="*/ 1619803 w 3645342"/>
              <a:gd name="connsiteY8" fmla="*/ 84031 h 3645342"/>
              <a:gd name="connsiteX9" fmla="*/ 1822671 w 3645342"/>
              <a:gd name="connsiteY9" fmla="*/ 0 h 364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45342" h="3645342">
                <a:moveTo>
                  <a:pt x="1822671" y="0"/>
                </a:moveTo>
                <a:cubicBezTo>
                  <a:pt x="1896095" y="0"/>
                  <a:pt x="1969519" y="28010"/>
                  <a:pt x="2025539" y="84031"/>
                </a:cubicBezTo>
                <a:lnTo>
                  <a:pt x="3561312" y="1619803"/>
                </a:lnTo>
                <a:cubicBezTo>
                  <a:pt x="3673353" y="1731844"/>
                  <a:pt x="3673353" y="1913498"/>
                  <a:pt x="3561312" y="2025539"/>
                </a:cubicBezTo>
                <a:lnTo>
                  <a:pt x="2025539" y="3561312"/>
                </a:lnTo>
                <a:cubicBezTo>
                  <a:pt x="1913498" y="3673353"/>
                  <a:pt x="1731844" y="3673353"/>
                  <a:pt x="1619803" y="3561312"/>
                </a:cubicBezTo>
                <a:lnTo>
                  <a:pt x="84031" y="2025539"/>
                </a:lnTo>
                <a:cubicBezTo>
                  <a:pt x="-28010" y="1913498"/>
                  <a:pt x="-28010" y="1731844"/>
                  <a:pt x="84031" y="1619803"/>
                </a:cubicBezTo>
                <a:lnTo>
                  <a:pt x="1619803" y="84031"/>
                </a:lnTo>
                <a:cubicBezTo>
                  <a:pt x="1675824" y="28010"/>
                  <a:pt x="1749248" y="0"/>
                  <a:pt x="1822671" y="0"/>
                </a:cubicBezTo>
                <a:close/>
              </a:path>
            </a:pathLst>
          </a:custGeom>
        </p:spPr>
        <p:txBody>
          <a:bodyPr wrap="square" lIns="34236" tIns="17109" rIns="34236" bIns="17109">
            <a:noAutofit/>
          </a:bodyPr>
          <a:lstStyle/>
          <a:p>
            <a:pPr lvl="0"/>
            <a:endParaRPr lang="id-ID" noProof="0">
              <a:sym typeface="Roboto Regular"/>
            </a:endParaRPr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7"/>
          </p:nvPr>
        </p:nvSpPr>
        <p:spPr>
          <a:xfrm>
            <a:off x="5681374" y="2337202"/>
            <a:ext cx="2459363" cy="3020653"/>
          </a:xfrm>
          <a:custGeom>
            <a:avLst/>
            <a:gdLst>
              <a:gd name="connsiteX0" fmla="*/ 1822671 w 3645342"/>
              <a:gd name="connsiteY0" fmla="*/ 0 h 3645342"/>
              <a:gd name="connsiteX1" fmla="*/ 2025539 w 3645342"/>
              <a:gd name="connsiteY1" fmla="*/ 84031 h 3645342"/>
              <a:gd name="connsiteX2" fmla="*/ 3561312 w 3645342"/>
              <a:gd name="connsiteY2" fmla="*/ 1619803 h 3645342"/>
              <a:gd name="connsiteX3" fmla="*/ 3561312 w 3645342"/>
              <a:gd name="connsiteY3" fmla="*/ 2025539 h 3645342"/>
              <a:gd name="connsiteX4" fmla="*/ 2025539 w 3645342"/>
              <a:gd name="connsiteY4" fmla="*/ 3561312 h 3645342"/>
              <a:gd name="connsiteX5" fmla="*/ 1619803 w 3645342"/>
              <a:gd name="connsiteY5" fmla="*/ 3561312 h 3645342"/>
              <a:gd name="connsiteX6" fmla="*/ 84031 w 3645342"/>
              <a:gd name="connsiteY6" fmla="*/ 2025539 h 3645342"/>
              <a:gd name="connsiteX7" fmla="*/ 84031 w 3645342"/>
              <a:gd name="connsiteY7" fmla="*/ 1619803 h 3645342"/>
              <a:gd name="connsiteX8" fmla="*/ 1619803 w 3645342"/>
              <a:gd name="connsiteY8" fmla="*/ 84031 h 3645342"/>
              <a:gd name="connsiteX9" fmla="*/ 1822671 w 3645342"/>
              <a:gd name="connsiteY9" fmla="*/ 0 h 364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45342" h="3645342">
                <a:moveTo>
                  <a:pt x="1822671" y="0"/>
                </a:moveTo>
                <a:cubicBezTo>
                  <a:pt x="1896095" y="0"/>
                  <a:pt x="1969519" y="28010"/>
                  <a:pt x="2025539" y="84031"/>
                </a:cubicBezTo>
                <a:lnTo>
                  <a:pt x="3561312" y="1619803"/>
                </a:lnTo>
                <a:cubicBezTo>
                  <a:pt x="3673353" y="1731844"/>
                  <a:pt x="3673353" y="1913498"/>
                  <a:pt x="3561312" y="2025539"/>
                </a:cubicBezTo>
                <a:lnTo>
                  <a:pt x="2025539" y="3561312"/>
                </a:lnTo>
                <a:cubicBezTo>
                  <a:pt x="1913498" y="3673353"/>
                  <a:pt x="1731844" y="3673353"/>
                  <a:pt x="1619803" y="3561312"/>
                </a:cubicBezTo>
                <a:lnTo>
                  <a:pt x="84031" y="2025539"/>
                </a:lnTo>
                <a:cubicBezTo>
                  <a:pt x="-28010" y="1913498"/>
                  <a:pt x="-28010" y="1731844"/>
                  <a:pt x="84031" y="1619803"/>
                </a:cubicBezTo>
                <a:lnTo>
                  <a:pt x="1619803" y="84031"/>
                </a:lnTo>
                <a:cubicBezTo>
                  <a:pt x="1675824" y="28010"/>
                  <a:pt x="1749248" y="0"/>
                  <a:pt x="1822671" y="0"/>
                </a:cubicBezTo>
                <a:close/>
              </a:path>
            </a:pathLst>
          </a:custGeom>
        </p:spPr>
        <p:txBody>
          <a:bodyPr wrap="square" lIns="34236" tIns="17109" rIns="34236" bIns="17109">
            <a:noAutofit/>
          </a:bodyPr>
          <a:lstStyle/>
          <a:p>
            <a:pPr lvl="0"/>
            <a:endParaRPr lang="id-ID" noProof="0">
              <a:sym typeface="Roboto Regular"/>
            </a:endParaRPr>
          </a:p>
        </p:txBody>
      </p:sp>
      <p:sp>
        <p:nvSpPr>
          <p:cNvPr id="7" name="Shape 6"/>
          <p:cNvSpPr>
            <a:spLocks noGrp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3543D62-C9CA-4206-8E3F-AEE71BA0C5F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69154513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0439"/>
            <a:ext cx="9144000" cy="77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2" cstate="print"/>
          <a:srcRect l="64957" r="26290"/>
          <a:stretch>
            <a:fillRect/>
          </a:stretch>
        </p:blipFill>
        <p:spPr bwMode="auto">
          <a:xfrm>
            <a:off x="9105781" y="6090439"/>
            <a:ext cx="800380" cy="77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396414" y="6333942"/>
            <a:ext cx="2311400" cy="365125"/>
          </a:xfrm>
          <a:prstGeom prst="rect">
            <a:avLst/>
          </a:prstGeom>
        </p:spPr>
        <p:txBody>
          <a:bodyPr lIns="89747" tIns="44874" rIns="89747" bIns="44874"/>
          <a:lstStyle>
            <a:lvl1pPr algn="r">
              <a:defRPr/>
            </a:lvl1pPr>
          </a:lstStyle>
          <a:p>
            <a:pPr defTabSz="898688">
              <a:defRPr/>
            </a:pPr>
            <a:fld id="{E651A8AB-4145-4B48-990D-279005DA2704}" type="slidenum">
              <a:rPr lang="ru-RU" smtClean="0">
                <a:solidFill>
                  <a:srgbClr val="FFFFFF"/>
                </a:solidFill>
              </a:rPr>
              <a:pPr defTabSz="898688"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686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250000" y="16"/>
            <a:ext cx="1656000" cy="794022"/>
          </a:xfrm>
        </p:spPr>
        <p:txBody>
          <a:bodyPr>
            <a:normAutofit/>
          </a:bodyPr>
          <a:lstStyle>
            <a:lvl1pPr>
              <a:defRPr sz="1200" b="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2"/>
          </p:nvPr>
        </p:nvSpPr>
        <p:spPr>
          <a:xfrm>
            <a:off x="161" y="161"/>
            <a:ext cx="8244000" cy="266700"/>
          </a:xfrm>
          <a:prstGeom prst="rect">
            <a:avLst/>
          </a:prstGeom>
        </p:spPr>
        <p:txBody>
          <a:bodyPr vert="horz" lIns="89747" tIns="44874" rIns="89747" bIns="44874" rtlCol="0" anchor="t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pPr defTabSz="898688" fontAlgn="base">
              <a:spcBef>
                <a:spcPct val="0"/>
              </a:spcBef>
              <a:spcAft>
                <a:spcPct val="0"/>
              </a:spcAft>
            </a:pPr>
            <a:fld id="{440E8CD2-F250-4719-9921-3E14E50AA51E}" type="datetimeFigureOut">
              <a:rPr lang="ru-RU" b="1" smtClean="0">
                <a:solidFill>
                  <a:srgbClr val="000000"/>
                </a:solidFill>
              </a:rPr>
              <a:pPr defTabSz="898688" fontAlgn="base">
                <a:spcBef>
                  <a:spcPct val="0"/>
                </a:spcBef>
                <a:spcAft>
                  <a:spcPct val="0"/>
                </a:spcAft>
              </a:pPr>
              <a:t>21.11.2022</a:t>
            </a:fld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5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396414" y="6333942"/>
            <a:ext cx="2311400" cy="365125"/>
          </a:xfrm>
          <a:prstGeom prst="rect">
            <a:avLst/>
          </a:prstGeom>
        </p:spPr>
        <p:txBody>
          <a:bodyPr lIns="89747" tIns="44874" rIns="89747" bIns="44874"/>
          <a:lstStyle>
            <a:lvl1pPr algn="r">
              <a:defRPr/>
            </a:lvl1pPr>
          </a:lstStyle>
          <a:p>
            <a:pPr defTabSz="898688">
              <a:defRPr/>
            </a:pPr>
            <a:fld id="{E651A8AB-4145-4B48-990D-279005DA2704}" type="slidenum">
              <a:rPr lang="ru-RU" smtClean="0">
                <a:solidFill>
                  <a:srgbClr val="FFFFFF"/>
                </a:solidFill>
              </a:rPr>
              <a:pPr defTabSz="898688"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472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3024" y="0"/>
            <a:ext cx="9900000" cy="6080760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/>
              </a:gs>
              <a:gs pos="51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 w="9525" cap="flat" cmpd="sng" algn="ctr">
            <a:noFill/>
            <a:prstDash val="sysDot"/>
            <a:round/>
            <a:headEnd type="none" w="lg" len="lg"/>
            <a:tailEnd type="none" w="lg" len="lg"/>
          </a:ln>
          <a:effectLst/>
        </p:spPr>
        <p:txBody>
          <a:bodyPr vert="horz" wrap="none" lIns="89747" tIns="89747" rIns="89747" bIns="89747" numCol="1" rtlCol="0" anchor="ctr" anchorCtr="0" compatLnSpc="1">
            <a:prstTxWarp prst="textNoShape">
              <a:avLst/>
            </a:prstTxWarp>
          </a:bodyPr>
          <a:lstStyle/>
          <a:p>
            <a:pPr algn="ctr" defTabSz="897427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1243607"/>
            <a:ext cx="9448800" cy="1808748"/>
          </a:xfrm>
          <a:ln>
            <a:noFill/>
          </a:ln>
        </p:spPr>
        <p:txBody>
          <a:bodyPr anchor="b">
            <a:noAutofit/>
          </a:bodyPr>
          <a:lstStyle>
            <a:lvl1pPr algn="l">
              <a:defRPr sz="2400" b="1" cap="none" baseline="0">
                <a:solidFill>
                  <a:srgbClr val="96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396414" y="6333942"/>
            <a:ext cx="2311400" cy="365125"/>
          </a:xfrm>
          <a:prstGeom prst="rect">
            <a:avLst/>
          </a:prstGeom>
        </p:spPr>
        <p:txBody>
          <a:bodyPr lIns="89747" tIns="44874" rIns="89747" bIns="44874"/>
          <a:lstStyle>
            <a:lvl1pPr algn="r">
              <a:defRPr/>
            </a:lvl1pPr>
          </a:lstStyle>
          <a:p>
            <a:pPr defTabSz="898688">
              <a:defRPr/>
            </a:pPr>
            <a:fld id="{E651A8AB-4145-4B48-990D-279005DA2704}" type="slidenum">
              <a:rPr lang="ru-RU" smtClean="0">
                <a:solidFill>
                  <a:srgbClr val="FFFFFF"/>
                </a:solidFill>
              </a:rPr>
              <a:pPr defTabSz="898688"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69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63"/>
            <a:ext cx="9906000" cy="609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1052590" y="2672944"/>
            <a:ext cx="7761419" cy="576263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600" cap="none" baseline="0">
                <a:solidFill>
                  <a:srgbClr val="96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idx="1"/>
          </p:nvPr>
        </p:nvSpPr>
        <p:spPr>
          <a:xfrm>
            <a:off x="1052728" y="4512042"/>
            <a:ext cx="7761862" cy="576064"/>
          </a:xfrm>
          <a:prstGeom prst="rect">
            <a:avLst/>
          </a:prstGeom>
        </p:spPr>
        <p:txBody>
          <a:bodyPr lIns="89747" tIns="44874" rIns="89747" bIns="44874" anchor="b"/>
          <a:lstStyle>
            <a:lvl1pPr marL="0" indent="0" algn="ctr">
              <a:buNone/>
              <a:defRPr sz="2800" b="1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48715" indent="0">
              <a:buNone/>
              <a:defRPr sz="1800"/>
            </a:lvl2pPr>
            <a:lvl3pPr marL="897427" indent="0">
              <a:buNone/>
              <a:defRPr sz="1600"/>
            </a:lvl3pPr>
            <a:lvl4pPr marL="1346142" indent="0">
              <a:buNone/>
              <a:defRPr sz="1400"/>
            </a:lvl4pPr>
            <a:lvl5pPr marL="1794854" indent="0">
              <a:buNone/>
              <a:defRPr sz="1400"/>
            </a:lvl5pPr>
            <a:lvl6pPr marL="2243569" indent="0">
              <a:buNone/>
              <a:defRPr sz="1400"/>
            </a:lvl6pPr>
            <a:lvl7pPr marL="2692282" indent="0">
              <a:buNone/>
              <a:defRPr sz="1400"/>
            </a:lvl7pPr>
            <a:lvl8pPr marL="3140996" indent="0">
              <a:buNone/>
              <a:defRPr sz="1400"/>
            </a:lvl8pPr>
            <a:lvl9pPr marL="3589708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10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6090439"/>
            <a:ext cx="9144000" cy="77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3" cstate="print"/>
          <a:srcRect l="64957" r="26290"/>
          <a:stretch>
            <a:fillRect/>
          </a:stretch>
        </p:blipFill>
        <p:spPr bwMode="auto">
          <a:xfrm>
            <a:off x="9105781" y="6090439"/>
            <a:ext cx="800380" cy="77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10310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3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4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21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24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674" cy="1583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0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674" cy="15834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8" y="0"/>
            <a:ext cx="2160000" cy="640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0" tIns="35845" rIns="0" bIns="35845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0" y="6192538"/>
            <a:ext cx="9901856" cy="648000"/>
            <a:chOff x="0" y="6177684"/>
            <a:chExt cx="9901856" cy="648000"/>
          </a:xfrm>
        </p:grpSpPr>
        <p:pic>
          <p:nvPicPr>
            <p:cNvPr id="16" name="Picture 3" descr="rs_present03.jpg"/>
            <p:cNvPicPr>
              <a:picLocks noChangeAspect="1"/>
            </p:cNvPicPr>
            <p:nvPr userDrawn="1"/>
          </p:nvPicPr>
          <p:blipFill rotWithShape="1">
            <a:blip r:embed="rId10" cstate="print"/>
            <a:srcRect t="63757" b="19726"/>
            <a:stretch/>
          </p:blipFill>
          <p:spPr bwMode="auto">
            <a:xfrm rot="10800000">
              <a:off x="0" y="6177684"/>
              <a:ext cx="5240590" cy="64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Picture 3" descr="rs_present03.jpg"/>
            <p:cNvPicPr>
              <a:picLocks noChangeAspect="1"/>
            </p:cNvPicPr>
            <p:nvPr userDrawn="1"/>
          </p:nvPicPr>
          <p:blipFill rotWithShape="1">
            <a:blip r:embed="rId10" cstate="print"/>
            <a:srcRect l="4794" t="63757" b="19726"/>
            <a:stretch/>
          </p:blipFill>
          <p:spPr bwMode="auto">
            <a:xfrm rot="10800000">
              <a:off x="4912519" y="6177684"/>
              <a:ext cx="4989337" cy="648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2960" name="Picture 1696" descr="logo-main.png (469×58)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525" y="6288271"/>
            <a:ext cx="3691922" cy="456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Прямая соединительная линия 12"/>
          <p:cNvCxnSpPr>
            <a:cxnSpLocks noChangeShapeType="1"/>
          </p:cNvCxnSpPr>
          <p:nvPr userDrawn="1"/>
        </p:nvCxnSpPr>
        <p:spPr bwMode="auto">
          <a:xfrm>
            <a:off x="619" y="6192538"/>
            <a:ext cx="9901238" cy="0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8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407187" y="6368460"/>
            <a:ext cx="2310289" cy="364195"/>
          </a:xfrm>
          <a:prstGeom prst="rect">
            <a:avLst/>
          </a:prstGeom>
        </p:spPr>
        <p:txBody>
          <a:bodyPr lIns="90980" tIns="45481" rIns="90980" bIns="4548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1147" fontAlgn="base">
              <a:spcBef>
                <a:spcPct val="0"/>
              </a:spcBef>
              <a:spcAft>
                <a:spcPct val="0"/>
              </a:spcAft>
              <a:defRPr/>
            </a:pPr>
            <a:fld id="{E651A8AB-4145-4B48-990D-279005DA2704}" type="slidenum">
              <a:rPr lang="ru-RU" sz="1400" b="1" smtClean="0"/>
              <a:pPr defTabSz="91114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 b="1" dirty="0"/>
          </a:p>
        </p:txBody>
      </p:sp>
      <p:cxnSp>
        <p:nvCxnSpPr>
          <p:cNvPr id="1032" name="Прямая соединительная линия 12"/>
          <p:cNvCxnSpPr>
            <a:cxnSpLocks noChangeShapeType="1"/>
          </p:cNvCxnSpPr>
          <p:nvPr/>
        </p:nvCxnSpPr>
        <p:spPr bwMode="auto">
          <a:xfrm>
            <a:off x="0" y="645136"/>
            <a:ext cx="9901238" cy="0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 type="none" w="lg" len="lg"/>
            <a:tailEnd type="none" w="lg" len="lg"/>
          </a:ln>
        </p:spPr>
      </p:cxnSp>
    </p:spTree>
    <p:extLst>
      <p:ext uri="{BB962C8B-B14F-4D97-AF65-F5344CB8AC3E}">
        <p14:creationId xmlns:p14="http://schemas.microsoft.com/office/powerpoint/2010/main" val="4080524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55" r:id="rId2"/>
    <p:sldLayoutId id="2147483956" r:id="rId3"/>
    <p:sldLayoutId id="2147483957" r:id="rId4"/>
    <p:sldLayoutId id="214748395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200" b="0" cap="sm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5pPr>
      <a:lvl6pPr marL="454936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6pPr>
      <a:lvl7pPr marL="909870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7pPr>
      <a:lvl8pPr marL="1364807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8pPr>
      <a:lvl9pPr marL="1819743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9pPr>
    </p:titleStyle>
    <p:bodyStyle>
      <a:lvl1pPr marL="341203" indent="-341203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•"/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54936" indent="-227468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909870" indent="-227468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369545" indent="-232205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48791" indent="-229049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503722" indent="-229049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58662" indent="-229049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13598" indent="-229049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68533" indent="-229049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098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936" algn="l" defTabSz="9098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870" algn="l" defTabSz="9098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4807" algn="l" defTabSz="9098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9743" algn="l" defTabSz="9098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4679" algn="l" defTabSz="9098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614" algn="l" defTabSz="9098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4549" algn="l" defTabSz="9098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9485" algn="l" defTabSz="9098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24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2" name="Прямая соединительная линия 12"/>
          <p:cNvCxnSpPr>
            <a:cxnSpLocks noChangeShapeType="1"/>
          </p:cNvCxnSpPr>
          <p:nvPr/>
        </p:nvCxnSpPr>
        <p:spPr bwMode="auto">
          <a:xfrm>
            <a:off x="0" y="794021"/>
            <a:ext cx="9906000" cy="0"/>
          </a:xfrm>
          <a:prstGeom prst="line">
            <a:avLst/>
          </a:prstGeom>
          <a:noFill/>
          <a:ln w="9525" algn="ctr">
            <a:solidFill>
              <a:srgbClr val="6C0000"/>
            </a:solidFill>
            <a:round/>
            <a:headEnd type="none" w="lg" len="lg"/>
            <a:tailEnd type="none" w="lg" len="lg"/>
          </a:ln>
        </p:spPr>
      </p:cxnSp>
      <p:pic>
        <p:nvPicPr>
          <p:cNvPr id="12" name="Picture 1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6090439"/>
            <a:ext cx="9144000" cy="77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0"/>
          <p:cNvPicPr>
            <a:picLocks noChangeAspect="1" noChangeArrowheads="1"/>
          </p:cNvPicPr>
          <p:nvPr/>
        </p:nvPicPr>
        <p:blipFill>
          <a:blip r:embed="rId10" cstate="print"/>
          <a:srcRect l="64957" r="26290"/>
          <a:stretch>
            <a:fillRect/>
          </a:stretch>
        </p:blipFill>
        <p:spPr bwMode="auto">
          <a:xfrm>
            <a:off x="9105781" y="6090439"/>
            <a:ext cx="800380" cy="77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396414" y="6333942"/>
            <a:ext cx="2311400" cy="365125"/>
          </a:xfrm>
          <a:prstGeom prst="rect">
            <a:avLst/>
          </a:prstGeom>
        </p:spPr>
        <p:txBody>
          <a:bodyPr lIns="89747" tIns="44874" rIns="89747" bIns="44874"/>
          <a:lstStyle>
            <a:lvl1pPr algn="r">
              <a:defRPr/>
            </a:lvl1pPr>
          </a:lstStyle>
          <a:p>
            <a:pPr defTabSz="898688" fontAlgn="base">
              <a:spcBef>
                <a:spcPct val="0"/>
              </a:spcBef>
              <a:spcAft>
                <a:spcPct val="0"/>
              </a:spcAft>
              <a:defRPr/>
            </a:pPr>
            <a:fld id="{E651A8AB-4145-4B48-990D-279005DA2704}" type="slidenum">
              <a:rPr lang="ru-RU" sz="1400" b="1" smtClean="0">
                <a:solidFill>
                  <a:srgbClr val="FFFFFF"/>
                </a:solidFill>
              </a:rPr>
              <a:pPr defTabSz="898688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250000" y="16"/>
            <a:ext cx="1656000" cy="794022"/>
          </a:xfrm>
          <a:prstGeom prst="rect">
            <a:avLst/>
          </a:prstGeom>
          <a:ln>
            <a:solidFill>
              <a:srgbClr val="6C0000"/>
            </a:solidFill>
          </a:ln>
        </p:spPr>
        <p:txBody>
          <a:bodyPr vert="horz" lIns="0" tIns="35325" rIns="0" bIns="35325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49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200" b="0" cap="sm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5pPr>
      <a:lvl6pPr marL="448715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6pPr>
      <a:lvl7pPr marL="897427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7pPr>
      <a:lvl8pPr marL="1346142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8pPr>
      <a:lvl9pPr marL="1794854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9pPr>
    </p:titleStyle>
    <p:bodyStyle>
      <a:lvl1pPr marL="336535" indent="-336535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•"/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48715" indent="-224352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97427" indent="-224352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350814" indent="-229029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20771" indent="-225917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469486" indent="-225917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8199" indent="-225917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66911" indent="-225917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15626" indent="-225917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8974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715" algn="l" defTabSz="8974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7427" algn="l" defTabSz="8974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6142" algn="l" defTabSz="8974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4854" algn="l" defTabSz="8974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3569" algn="l" defTabSz="8974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2282" algn="l" defTabSz="8974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0996" algn="l" defTabSz="8974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9708" algn="l" defTabSz="8974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24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674" cy="1583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0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674" cy="15834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" y="0"/>
            <a:ext cx="2160000" cy="640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0" tIns="35872" rIns="0" bIns="35872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0" y="6192538"/>
            <a:ext cx="9901856" cy="648000"/>
            <a:chOff x="0" y="6177684"/>
            <a:chExt cx="9901856" cy="648000"/>
          </a:xfrm>
        </p:grpSpPr>
        <p:pic>
          <p:nvPicPr>
            <p:cNvPr id="16" name="Picture 3" descr="rs_present03.jpg"/>
            <p:cNvPicPr>
              <a:picLocks noChangeAspect="1"/>
            </p:cNvPicPr>
            <p:nvPr userDrawn="1"/>
          </p:nvPicPr>
          <p:blipFill rotWithShape="1">
            <a:blip r:embed="rId11" cstate="print"/>
            <a:srcRect t="63757" b="19726"/>
            <a:stretch/>
          </p:blipFill>
          <p:spPr bwMode="auto">
            <a:xfrm rot="10800000">
              <a:off x="0" y="6177684"/>
              <a:ext cx="5240590" cy="64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Picture 3" descr="rs_present03.jpg"/>
            <p:cNvPicPr>
              <a:picLocks noChangeAspect="1"/>
            </p:cNvPicPr>
            <p:nvPr userDrawn="1"/>
          </p:nvPicPr>
          <p:blipFill rotWithShape="1">
            <a:blip r:embed="rId11" cstate="print"/>
            <a:srcRect l="4794" t="63757" b="19726"/>
            <a:stretch/>
          </p:blipFill>
          <p:spPr bwMode="auto">
            <a:xfrm rot="10800000">
              <a:off x="4912519" y="6177684"/>
              <a:ext cx="4989337" cy="648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2960" name="Picture 1696" descr="logo-main.png (469×58)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525" y="6288262"/>
            <a:ext cx="3691922" cy="456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Прямая соединительная линия 12"/>
          <p:cNvCxnSpPr>
            <a:cxnSpLocks noChangeShapeType="1"/>
          </p:cNvCxnSpPr>
          <p:nvPr userDrawn="1"/>
        </p:nvCxnSpPr>
        <p:spPr bwMode="auto">
          <a:xfrm>
            <a:off x="619" y="6192538"/>
            <a:ext cx="9901238" cy="0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8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407187" y="6368451"/>
            <a:ext cx="2310289" cy="364195"/>
          </a:xfrm>
          <a:prstGeom prst="rect">
            <a:avLst/>
          </a:prstGeom>
        </p:spPr>
        <p:txBody>
          <a:bodyPr lIns="91070" tIns="45526" rIns="91070" bIns="45526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1982" fontAlgn="base">
              <a:spcBef>
                <a:spcPct val="0"/>
              </a:spcBef>
              <a:spcAft>
                <a:spcPct val="0"/>
              </a:spcAft>
              <a:defRPr/>
            </a:pPr>
            <a:fld id="{E651A8AB-4145-4B48-990D-279005DA2704}" type="slidenum">
              <a:rPr lang="ru-RU" sz="1400" b="1" smtClean="0">
                <a:solidFill>
                  <a:srgbClr val="000000"/>
                </a:solidFill>
              </a:rPr>
              <a:pPr defTabSz="91198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 b="1" dirty="0">
              <a:solidFill>
                <a:srgbClr val="000000"/>
              </a:solidFill>
            </a:endParaRPr>
          </a:p>
        </p:txBody>
      </p:sp>
      <p:cxnSp>
        <p:nvCxnSpPr>
          <p:cNvPr id="1032" name="Прямая соединительная линия 12"/>
          <p:cNvCxnSpPr>
            <a:cxnSpLocks noChangeShapeType="1"/>
          </p:cNvCxnSpPr>
          <p:nvPr/>
        </p:nvCxnSpPr>
        <p:spPr bwMode="auto">
          <a:xfrm>
            <a:off x="0" y="645136"/>
            <a:ext cx="9901238" cy="0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 type="none" w="lg" len="lg"/>
            <a:tailEnd type="none" w="lg" len="lg"/>
          </a:ln>
        </p:spPr>
      </p:cxnSp>
    </p:spTree>
    <p:extLst>
      <p:ext uri="{BB962C8B-B14F-4D97-AF65-F5344CB8AC3E}">
        <p14:creationId xmlns:p14="http://schemas.microsoft.com/office/powerpoint/2010/main" val="1822453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7" r:id="rId2"/>
    <p:sldLayoutId id="2147483988" r:id="rId3"/>
    <p:sldLayoutId id="2147483989" r:id="rId4"/>
    <p:sldLayoutId id="2147483990" r:id="rId5"/>
    <p:sldLayoutId id="21474839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200" b="0" cap="sm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5pPr>
      <a:lvl6pPr marL="455351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6pPr>
      <a:lvl7pPr marL="910705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7pPr>
      <a:lvl8pPr marL="1366058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8pPr>
      <a:lvl9pPr marL="1821411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9pPr>
    </p:titleStyle>
    <p:bodyStyle>
      <a:lvl1pPr marL="341514" indent="-341514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•"/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55351" indent="-227675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910705" indent="-227675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370800" indent="-232421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50668" indent="-229256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506018" indent="-229256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61374" indent="-229256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16729" indent="-229256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72079" indent="-229256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07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51" algn="l" defTabSz="9107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705" algn="l" defTabSz="9107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058" algn="l" defTabSz="9107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411" algn="l" defTabSz="9107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765" algn="l" defTabSz="9107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117" algn="l" defTabSz="9107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7469" algn="l" defTabSz="9107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821" algn="l" defTabSz="9107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24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674" cy="1583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0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674" cy="15834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0" y="0"/>
            <a:ext cx="2160000" cy="640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0" tIns="35899" rIns="0" bIns="35899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0" y="6192538"/>
            <a:ext cx="9901856" cy="648000"/>
            <a:chOff x="0" y="6177684"/>
            <a:chExt cx="9901856" cy="648000"/>
          </a:xfrm>
        </p:grpSpPr>
        <p:pic>
          <p:nvPicPr>
            <p:cNvPr id="16" name="Picture 3" descr="rs_present03.jpg"/>
            <p:cNvPicPr>
              <a:picLocks noChangeAspect="1"/>
            </p:cNvPicPr>
            <p:nvPr userDrawn="1"/>
          </p:nvPicPr>
          <p:blipFill rotWithShape="1">
            <a:blip r:embed="rId11" cstate="print"/>
            <a:srcRect t="63757" b="19726"/>
            <a:stretch/>
          </p:blipFill>
          <p:spPr bwMode="auto">
            <a:xfrm rot="10800000">
              <a:off x="0" y="6177684"/>
              <a:ext cx="5240590" cy="64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Picture 3" descr="rs_present03.jpg"/>
            <p:cNvPicPr>
              <a:picLocks noChangeAspect="1"/>
            </p:cNvPicPr>
            <p:nvPr userDrawn="1"/>
          </p:nvPicPr>
          <p:blipFill rotWithShape="1">
            <a:blip r:embed="rId11" cstate="print"/>
            <a:srcRect l="4794" t="63757" b="19726"/>
            <a:stretch/>
          </p:blipFill>
          <p:spPr bwMode="auto">
            <a:xfrm rot="10800000">
              <a:off x="4912519" y="6177684"/>
              <a:ext cx="4989337" cy="648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2960" name="Picture 1696" descr="logo-main.png (469×58)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525" y="6288253"/>
            <a:ext cx="3691922" cy="456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Прямая соединительная линия 12"/>
          <p:cNvCxnSpPr>
            <a:cxnSpLocks noChangeShapeType="1"/>
          </p:cNvCxnSpPr>
          <p:nvPr userDrawn="1"/>
        </p:nvCxnSpPr>
        <p:spPr bwMode="auto">
          <a:xfrm>
            <a:off x="619" y="6192538"/>
            <a:ext cx="9901238" cy="0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8" name="Номер слайда 10"/>
          <p:cNvSpPr>
            <a:spLocks noGrp="1"/>
          </p:cNvSpPr>
          <p:nvPr>
            <p:ph type="sldNum" sz="quarter" idx="4"/>
          </p:nvPr>
        </p:nvSpPr>
        <p:spPr>
          <a:xfrm>
            <a:off x="7407187" y="6368442"/>
            <a:ext cx="2310289" cy="364195"/>
          </a:xfrm>
          <a:prstGeom prst="rect">
            <a:avLst/>
          </a:prstGeom>
        </p:spPr>
        <p:txBody>
          <a:bodyPr lIns="91159" tIns="45571" rIns="91159" bIns="45571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2818" fontAlgn="base">
              <a:spcBef>
                <a:spcPct val="0"/>
              </a:spcBef>
              <a:spcAft>
                <a:spcPct val="0"/>
              </a:spcAft>
              <a:defRPr/>
            </a:pPr>
            <a:fld id="{E651A8AB-4145-4B48-990D-279005DA2704}" type="slidenum">
              <a:rPr lang="ru-RU" sz="1400" b="1" smtClean="0">
                <a:solidFill>
                  <a:srgbClr val="000000"/>
                </a:solidFill>
              </a:rPr>
              <a:pPr defTabSz="912818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 b="1" dirty="0">
              <a:solidFill>
                <a:srgbClr val="000000"/>
              </a:solidFill>
            </a:endParaRPr>
          </a:p>
        </p:txBody>
      </p:sp>
      <p:cxnSp>
        <p:nvCxnSpPr>
          <p:cNvPr id="1032" name="Прямая соединительная линия 12"/>
          <p:cNvCxnSpPr>
            <a:cxnSpLocks noChangeShapeType="1"/>
          </p:cNvCxnSpPr>
          <p:nvPr/>
        </p:nvCxnSpPr>
        <p:spPr bwMode="auto">
          <a:xfrm>
            <a:off x="0" y="645136"/>
            <a:ext cx="9901238" cy="0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 type="none" w="lg" len="lg"/>
            <a:tailEnd type="none" w="lg" len="lg"/>
          </a:ln>
        </p:spPr>
      </p:cxnSp>
    </p:spTree>
    <p:extLst>
      <p:ext uri="{BB962C8B-B14F-4D97-AF65-F5344CB8AC3E}">
        <p14:creationId xmlns:p14="http://schemas.microsoft.com/office/powerpoint/2010/main" val="95588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6" r:id="rId5"/>
    <p:sldLayoutId id="2147484017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200" b="0" cap="sm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5pPr>
      <a:lvl6pPr marL="455771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6pPr>
      <a:lvl7pPr marL="911540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7pPr>
      <a:lvl8pPr marL="1367311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8pPr>
      <a:lvl9pPr marL="1823081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charset="0"/>
          <a:cs typeface="Arial" charset="0"/>
        </a:defRPr>
      </a:lvl9pPr>
    </p:titleStyle>
    <p:bodyStyle>
      <a:lvl1pPr marL="341829" indent="-341829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•"/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55771" indent="-227882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911540" indent="-227882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372057" indent="-232637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52549" indent="-229469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508316" indent="-229469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64089" indent="-229469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19863" indent="-229469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75630" indent="-229469" algn="l" rtl="0" fontAlgn="base">
        <a:spcBef>
          <a:spcPct val="20000"/>
        </a:spcBef>
        <a:spcAft>
          <a:spcPct val="0"/>
        </a:spcAft>
        <a:buClr>
          <a:srgbClr val="9900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15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771" algn="l" defTabSz="9115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40" algn="l" defTabSz="9115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311" algn="l" defTabSz="9115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81" algn="l" defTabSz="9115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853" algn="l" defTabSz="9115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621" algn="l" defTabSz="9115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391" algn="l" defTabSz="9115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160" algn="l" defTabSz="9115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image" Target="../media/image12.svg"/><Relationship Id="rId2" Type="http://schemas.openxmlformats.org/officeDocument/2006/relationships/image" Target="../media/image8.jpeg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image" Target="../media/image10.png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image" Target="../media/image9.png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10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7.xml"/><Relationship Id="rId11" Type="http://schemas.openxmlformats.org/officeDocument/2006/relationships/image" Target="../media/image12.emf"/><Relationship Id="rId5" Type="http://schemas.openxmlformats.org/officeDocument/2006/relationships/diagramColors" Target="../diagrams/colors7.xml"/><Relationship Id="rId10" Type="http://schemas.openxmlformats.org/officeDocument/2006/relationships/image" Target="../media/image11.png"/><Relationship Id="rId4" Type="http://schemas.openxmlformats.org/officeDocument/2006/relationships/diagramQuickStyle" Target="../diagrams/quickStyle7.xml"/><Relationship Id="rId9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.png"/><Relationship Id="rId3" Type="http://schemas.openxmlformats.org/officeDocument/2006/relationships/image" Target="../media/image14.png"/><Relationship Id="rId12" Type="http://schemas.openxmlformats.org/officeDocument/2006/relationships/image" Target="../media/image16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6.xml"/><Relationship Id="rId11" Type="http://schemas.openxmlformats.org/officeDocument/2006/relationships/image" Target="../media/image14.sv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64195" y="2412157"/>
            <a:ext cx="8533457" cy="1296144"/>
          </a:xfrm>
          <a:noFill/>
        </p:spPr>
        <p:txBody>
          <a:bodyPr>
            <a:noAutofit/>
          </a:bodyPr>
          <a:lstStyle/>
          <a:p>
            <a:r>
              <a:rPr lang="ru-RU" sz="4400" b="1" cap="small" dirty="0" smtClean="0"/>
              <a:t>Почему важно иметь хорошую кредитную историю</a:t>
            </a:r>
            <a:r>
              <a:rPr lang="en-US" sz="4400" b="1" cap="small" dirty="0" smtClean="0"/>
              <a:t>?</a:t>
            </a:r>
            <a:endParaRPr lang="ru-RU" sz="4400" b="1" cap="small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52096" y="5436549"/>
            <a:ext cx="7758131" cy="574597"/>
          </a:xfrm>
        </p:spPr>
        <p:txBody>
          <a:bodyPr/>
          <a:lstStyle/>
          <a:p>
            <a:r>
              <a:rPr lang="ru-RU" sz="1600" dirty="0" smtClean="0"/>
              <a:t>22 ноября 2022 г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173606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1147" fontAlgn="base">
              <a:spcBef>
                <a:spcPct val="0"/>
              </a:spcBef>
              <a:spcAft>
                <a:spcPct val="0"/>
              </a:spcAft>
              <a:defRPr/>
            </a:pPr>
            <a:fld id="{E651A8AB-4145-4B48-990D-279005DA2704}" type="slidenum">
              <a:rPr lang="ru-RU" sz="1400" b="1" smtClean="0">
                <a:solidFill>
                  <a:srgbClr val="000000"/>
                </a:solidFill>
              </a:rPr>
              <a:pPr defTabSz="911147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 определить хорошего заемщика</a:t>
            </a:r>
            <a:r>
              <a:rPr lang="en-US" dirty="0" smtClean="0"/>
              <a:t>?</a:t>
            </a: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1977436" y="1042561"/>
            <a:ext cx="729366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Банк или другая кредитная организация, выдавая заемщику кредит или займ, хочет быть уверенной в том, что она сможет получить денежные средства обратно. Невозврат по кредиту означает для кредитной организации получение убытка и дополнительные расходы по взысканию долга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1971753" y="3708301"/>
            <a:ext cx="66800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Как Банку быть уверенным в том, заемщик вернет кредит</a:t>
            </a:r>
            <a:r>
              <a:rPr lang="en-US" dirty="0" smtClean="0"/>
              <a:t>? </a:t>
            </a:r>
          </a:p>
          <a:p>
            <a:endParaRPr lang="en-US" dirty="0"/>
          </a:p>
          <a:p>
            <a:r>
              <a:rPr lang="ru-RU" dirty="0" smtClean="0"/>
              <a:t>Как отличить хорошего заемщика от проблемного</a:t>
            </a:r>
            <a:r>
              <a:rPr lang="en-US" dirty="0" smtClean="0"/>
              <a:t>?</a:t>
            </a:r>
            <a:endParaRPr lang="ru-RU" dirty="0"/>
          </a:p>
        </p:txBody>
      </p:sp>
      <p:sp>
        <p:nvSpPr>
          <p:cNvPr id="8" name="Текст 4"/>
          <p:cNvSpPr txBox="1">
            <a:spLocks/>
          </p:cNvSpPr>
          <p:nvPr/>
        </p:nvSpPr>
        <p:spPr>
          <a:xfrm>
            <a:off x="262493" y="882075"/>
            <a:ext cx="9125744" cy="2284145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90000" rIns="180000" bIns="90000" anchor="ctr"/>
          <a:lstStyle>
            <a:lvl1pPr marL="341514" indent="-341514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•"/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5351" indent="-2276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910705" indent="-2276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370800" indent="-232421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0668" indent="-229256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06018" indent="-229256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61374" indent="-229256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16729" indent="-229256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72079" indent="-229256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 defTabSz="914400">
              <a:spcBef>
                <a:spcPts val="0"/>
              </a:spcBef>
              <a:spcAft>
                <a:spcPts val="500"/>
              </a:spcAft>
            </a:pPr>
            <a:endParaRPr lang="ru-RU" sz="1200" kern="0" dirty="0" smtClean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6515" y="1291120"/>
            <a:ext cx="426122" cy="400957"/>
          </a:xfrm>
          <a:prstGeom prst="rect">
            <a:avLst/>
          </a:prstGeom>
        </p:spPr>
      </p:pic>
      <p:sp>
        <p:nvSpPr>
          <p:cNvPr id="11" name="Текст 4"/>
          <p:cNvSpPr txBox="1">
            <a:spLocks/>
          </p:cNvSpPr>
          <p:nvPr/>
        </p:nvSpPr>
        <p:spPr>
          <a:xfrm>
            <a:off x="262493" y="3416335"/>
            <a:ext cx="9125744" cy="2284145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90000" rIns="180000" bIns="90000" anchor="ctr"/>
          <a:lstStyle>
            <a:lvl1pPr marL="341514" indent="-341514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•"/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5351" indent="-2276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910705" indent="-2276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370800" indent="-232421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0668" indent="-229256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06018" indent="-229256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61374" indent="-229256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16729" indent="-229256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72079" indent="-229256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 defTabSz="914400">
              <a:spcBef>
                <a:spcPts val="0"/>
              </a:spcBef>
              <a:spcAft>
                <a:spcPts val="500"/>
              </a:spcAft>
            </a:pPr>
            <a:endParaRPr lang="ru-RU" sz="1200" kern="0" dirty="0" smtClean="0"/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2F030700-980F-4B04-977F-A050F178CA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216515" y="4243154"/>
            <a:ext cx="401010" cy="388477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017" y="3605698"/>
            <a:ext cx="458005" cy="458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978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1147" fontAlgn="base">
              <a:spcBef>
                <a:spcPct val="0"/>
              </a:spcBef>
              <a:spcAft>
                <a:spcPct val="0"/>
              </a:spcAft>
              <a:defRPr/>
            </a:pPr>
            <a:fld id="{E651A8AB-4145-4B48-990D-279005DA2704}" type="slidenum">
              <a:rPr lang="ru-RU" sz="1400" b="1" smtClean="0">
                <a:solidFill>
                  <a:srgbClr val="000000"/>
                </a:solidFill>
              </a:rPr>
              <a:pPr defTabSz="911147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ой информацией пользуется Банк о заемщике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270099" y="971997"/>
            <a:ext cx="540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Какая информация доступна Банку о заемщике</a:t>
            </a:r>
            <a:r>
              <a:rPr lang="en-US" dirty="0" smtClean="0"/>
              <a:t>?</a:t>
            </a:r>
            <a:endParaRPr lang="ru-RU" dirty="0"/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406887439"/>
              </p:ext>
            </p:extLst>
          </p:nvPr>
        </p:nvGraphicFramePr>
        <p:xfrm>
          <a:off x="1650206" y="1219994"/>
          <a:ext cx="6600825" cy="4400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72844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51A8AB-4145-4B48-990D-279005DA2704}" type="slidenum">
              <a:rPr lang="ru-RU" smtClean="0">
                <a:solidFill>
                  <a:srgbClr val="FFFFFF"/>
                </a:solidFill>
              </a:rPr>
              <a:pPr>
                <a:defRPr/>
              </a:pPr>
              <a:t>4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оценивает банк при принятии кредитного решения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70099" y="971997"/>
            <a:ext cx="540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Что оценивает Банк</a:t>
            </a:r>
            <a:r>
              <a:rPr lang="en-US" dirty="0" smtClean="0"/>
              <a:t>?</a:t>
            </a:r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318061585"/>
              </p:ext>
            </p:extLst>
          </p:nvPr>
        </p:nvGraphicFramePr>
        <p:xfrm>
          <a:off x="1650206" y="1219994"/>
          <a:ext cx="6600825" cy="4400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22162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1147" fontAlgn="base">
              <a:spcBef>
                <a:spcPct val="0"/>
              </a:spcBef>
              <a:spcAft>
                <a:spcPct val="0"/>
              </a:spcAft>
              <a:defRPr/>
            </a:pPr>
            <a:fld id="{E651A8AB-4145-4B48-990D-279005DA2704}" type="slidenum">
              <a:rPr lang="ru-RU" sz="1400" b="1" smtClean="0">
                <a:solidFill>
                  <a:srgbClr val="000000"/>
                </a:solidFill>
              </a:rPr>
              <a:pPr defTabSz="911147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ая информация нужна из кредитной истории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2160009" y="17819"/>
            <a:ext cx="67687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Что интересует Банк в кредитной истории</a:t>
            </a:r>
            <a:r>
              <a:rPr lang="en-US" dirty="0" smtClean="0"/>
              <a:t>? </a:t>
            </a:r>
            <a:r>
              <a:rPr lang="ru-RU" dirty="0" smtClean="0"/>
              <a:t>Что можно считать положительной, а что негативной информацией</a:t>
            </a:r>
            <a:r>
              <a:rPr lang="en-US" dirty="0" smtClean="0"/>
              <a:t>?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5271" y="-74233"/>
            <a:ext cx="806979" cy="7892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1179314058"/>
              </p:ext>
            </p:extLst>
          </p:nvPr>
        </p:nvGraphicFramePr>
        <p:xfrm>
          <a:off x="37471" y="755973"/>
          <a:ext cx="5273188" cy="2488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996210128"/>
              </p:ext>
            </p:extLst>
          </p:nvPr>
        </p:nvGraphicFramePr>
        <p:xfrm>
          <a:off x="143177" y="3492277"/>
          <a:ext cx="5061775" cy="2488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646869022"/>
              </p:ext>
            </p:extLst>
          </p:nvPr>
        </p:nvGraphicFramePr>
        <p:xfrm>
          <a:off x="4579931" y="3492277"/>
          <a:ext cx="4824536" cy="2488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3888352382"/>
              </p:ext>
            </p:extLst>
          </p:nvPr>
        </p:nvGraphicFramePr>
        <p:xfrm>
          <a:off x="4480854" y="755973"/>
          <a:ext cx="5273188" cy="2488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pic>
        <p:nvPicPr>
          <p:cNvPr id="16" name="Picture 7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304" y="4428381"/>
            <a:ext cx="453410" cy="455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65DB94FC-F653-435A-935B-98328198DA82}"/>
              </a:ext>
            </a:extLst>
          </p:cNvPr>
          <p:cNvPicPr>
            <a:picLocks noChangeAspect="1"/>
          </p:cNvPicPr>
          <p:nvPr/>
        </p:nvPicPr>
        <p:blipFill>
          <a:blip r:embed="rId2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>
          <a:xfrm>
            <a:off x="270099" y="1144855"/>
            <a:ext cx="403496" cy="331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225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51A8AB-4145-4B48-990D-279005DA2704}" type="slidenum">
              <a:rPr lang="ru-RU" smtClean="0">
                <a:solidFill>
                  <a:srgbClr val="FFFFFF"/>
                </a:solidFill>
              </a:rPr>
              <a:pPr>
                <a:defRPr/>
              </a:pPr>
              <a:t>6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ие возможности дает хорошая кредитная история</a:t>
            </a:r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896065620"/>
              </p:ext>
            </p:extLst>
          </p:nvPr>
        </p:nvGraphicFramePr>
        <p:xfrm>
          <a:off x="486123" y="1044005"/>
          <a:ext cx="8630312" cy="4400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65DB94FC-F653-435A-935B-98328198DA8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2430339" y="1476053"/>
            <a:ext cx="403496" cy="33119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4242" y="2844205"/>
            <a:ext cx="400075" cy="400075"/>
          </a:xfrm>
          <a:prstGeom prst="rect">
            <a:avLst/>
          </a:prstGeom>
        </p:spPr>
      </p:pic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EAA0C271-78A9-4BD6-AAAC-22173EA9A335}"/>
              </a:ext>
            </a:extLst>
          </p:cNvPr>
          <p:cNvGrpSpPr/>
          <p:nvPr/>
        </p:nvGrpSpPr>
        <p:grpSpPr>
          <a:xfrm>
            <a:off x="2407192" y="4428381"/>
            <a:ext cx="426643" cy="412482"/>
            <a:chOff x="622972" y="4163840"/>
            <a:chExt cx="570802" cy="570802"/>
          </a:xfrm>
        </p:grpSpPr>
        <p:sp>
          <p:nvSpPr>
            <p:cNvPr id="9" name="Овал 42">
              <a:extLst>
                <a:ext uri="{FF2B5EF4-FFF2-40B4-BE49-F238E27FC236}">
                  <a16:creationId xmlns="" xmlns:a16="http://schemas.microsoft.com/office/drawing/2014/main" id="{883B86A8-DD49-4882-ADDF-15A38EDE3B5C}"/>
                </a:ext>
              </a:extLst>
            </p:cNvPr>
            <p:cNvSpPr/>
            <p:nvPr/>
          </p:nvSpPr>
          <p:spPr>
            <a:xfrm>
              <a:off x="622972" y="4163840"/>
              <a:ext cx="570802" cy="570802"/>
            </a:xfrm>
            <a:prstGeom prst="ellipse">
              <a:avLst/>
            </a:prstGeom>
            <a:noFill/>
            <a:ln w="57150" cmpd="sng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2551" tIns="46275" rIns="92551" bIns="4627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25398"/>
              <a:endParaRPr lang="ru-RU" sz="1821" dirty="0">
                <a:solidFill>
                  <a:prstClr val="white"/>
                </a:solidFill>
                <a:latin typeface="OfficinaSansBookC"/>
              </a:endParaRPr>
            </a:p>
          </p:txBody>
        </p:sp>
        <p:pic>
          <p:nvPicPr>
            <p:cNvPr id="10" name="Picture 3">
              <a:extLst>
                <a:ext uri="{FF2B5EF4-FFF2-40B4-BE49-F238E27FC236}">
                  <a16:creationId xmlns="" xmlns:a16="http://schemas.microsoft.com/office/drawing/2014/main" id="{DA2AECB7-1F38-41D0-9AEB-81D5AD55D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18989" y="4247474"/>
              <a:ext cx="393054" cy="3702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5003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51A8AB-4145-4B48-990D-279005DA2704}" type="slidenum">
              <a:rPr lang="ru-RU" smtClean="0">
                <a:solidFill>
                  <a:srgbClr val="FFFFFF"/>
                </a:solidFill>
              </a:rPr>
              <a:pPr>
                <a:defRPr/>
              </a:pPr>
              <a:t>7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ерсональный кредитный рейтинг: чем он интересен</a:t>
            </a:r>
            <a:r>
              <a:rPr lang="en-US" dirty="0" smtClean="0"/>
              <a:t>?</a:t>
            </a:r>
            <a:endParaRPr lang="ru-RU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="" xmlns:a16="http://schemas.microsoft.com/office/drawing/2014/main" id="{50CEDC8B-2E7A-4399-BF84-3C5E7E2C02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441717"/>
              </p:ext>
            </p:extLst>
          </p:nvPr>
        </p:nvGraphicFramePr>
        <p:xfrm>
          <a:off x="0" y="680534"/>
          <a:ext cx="9703147" cy="679093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9703147">
                  <a:extLst>
                    <a:ext uri="{9D8B030D-6E8A-4147-A177-3AD203B41FA5}">
                      <a16:colId xmlns="" xmlns:a16="http://schemas.microsoft.com/office/drawing/2014/main" val="2872647347"/>
                    </a:ext>
                  </a:extLst>
                </a:gridCol>
              </a:tblGrid>
              <a:tr h="371159">
                <a:tc>
                  <a:txBody>
                    <a:bodyPr/>
                    <a:lstStyle/>
                    <a:p>
                      <a:pPr marL="0" marR="0" indent="0" algn="l" defTabSz="911540" rtl="0" eaLnBrk="1" fontAlgn="auto" latinLnBrk="0" hangingPunct="1">
                        <a:lnSpc>
                          <a:spcPct val="9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cap="small" baseline="0" dirty="0" smtClean="0">
                          <a:solidFill>
                            <a:srgbClr val="960000"/>
                          </a:solidFill>
                          <a:latin typeface="Arial" pitchFamily="34" charset="0"/>
                          <a:ea typeface="+mj-ea"/>
                          <a:cs typeface="Arial" pitchFamily="34" charset="0"/>
                        </a:rPr>
                        <a:t>Как оценить свою кредитную историю</a:t>
                      </a:r>
                      <a:r>
                        <a:rPr lang="en-US" sz="1600" b="1" cap="small" baseline="0" dirty="0" smtClean="0">
                          <a:solidFill>
                            <a:srgbClr val="960000"/>
                          </a:solidFill>
                          <a:latin typeface="Arial" pitchFamily="34" charset="0"/>
                          <a:ea typeface="+mj-ea"/>
                          <a:cs typeface="Arial" pitchFamily="34" charset="0"/>
                        </a:rPr>
                        <a:t>?</a:t>
                      </a:r>
                      <a:endParaRPr lang="ru-RU" sz="1600" b="1" cap="small" baseline="0" dirty="0">
                        <a:solidFill>
                          <a:srgbClr val="960000"/>
                        </a:solidFill>
                        <a:latin typeface="Arial" pitchFamily="34" charset="0"/>
                        <a:ea typeface="+mj-ea"/>
                        <a:cs typeface="Arial" pitchFamily="34" charset="0"/>
                      </a:endParaRPr>
                    </a:p>
                  </a:txBody>
                  <a:tcPr marL="28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21118581"/>
                  </a:ext>
                </a:extLst>
              </a:tr>
              <a:tr h="1576488">
                <a:tc>
                  <a:txBody>
                    <a:bodyPr/>
                    <a:lstStyle/>
                    <a:p>
                      <a:pPr marL="623888" marR="0" lvl="0" indent="0" algn="l" defTabSz="911540" rtl="0" eaLnBrk="1" fontAlgn="auto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Если у Вас были действующие кредиты и Вы их закрыли без единой просрочки, то у Вас идеальная кредитная история! </a:t>
                      </a:r>
                      <a:endParaRPr lang="en-US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23888" marR="0" lvl="0" indent="0" algn="l" defTabSz="911540" rtl="0" eaLnBrk="1" fontAlgn="auto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 если не все так идеально</a:t>
                      </a: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 </a:t>
                      </a: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 как понять, стала ли Ваша кредитная история лучше</a:t>
                      </a: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 </a:t>
                      </a:r>
                      <a:endParaRPr lang="ru-RU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23888" marR="0" lvl="0" indent="0" algn="l" defTabSz="911540" rtl="0" eaLnBrk="1" fontAlgn="auto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обраться в кредитной истории можно, но как оценить Ваш рейтинг «в глазах» кредитной организации</a:t>
                      </a: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49672720"/>
                  </a:ext>
                </a:extLst>
              </a:tr>
              <a:tr h="408275">
                <a:tc>
                  <a:txBody>
                    <a:bodyPr/>
                    <a:lstStyle/>
                    <a:p>
                      <a:pPr marL="0" marR="0" lvl="0" indent="0" algn="l" defTabSz="911540" rtl="0" eaLnBrk="1" fontAlgn="auto" latinLnBrk="0" hangingPunct="1">
                        <a:lnSpc>
                          <a:spcPct val="9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cap="small" baseline="0" dirty="0" smtClean="0">
                          <a:solidFill>
                            <a:srgbClr val="960000"/>
                          </a:solidFill>
                          <a:latin typeface="Arial" pitchFamily="34" charset="0"/>
                          <a:ea typeface="+mj-ea"/>
                          <a:cs typeface="Arial" pitchFamily="34" charset="0"/>
                        </a:rPr>
                        <a:t>Персональный кредитный рейтинг:</a:t>
                      </a:r>
                      <a:endParaRPr lang="ru-RU" sz="1600" b="1" cap="small" baseline="0" dirty="0">
                        <a:solidFill>
                          <a:srgbClr val="960000"/>
                        </a:solidFill>
                        <a:latin typeface="Arial" pitchFamily="34" charset="0"/>
                        <a:ea typeface="+mj-ea"/>
                        <a:cs typeface="Arial" pitchFamily="34" charset="0"/>
                      </a:endParaRPr>
                    </a:p>
                  </a:txBody>
                  <a:tcPr marL="288000" marR="21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88024895"/>
                  </a:ext>
                </a:extLst>
              </a:tr>
              <a:tr h="3024000">
                <a:tc>
                  <a:txBody>
                    <a:bodyPr/>
                    <a:lstStyle/>
                    <a:p>
                      <a:pPr marL="536575" marR="0" lvl="0" indent="0" algn="just" defTabSz="536575" rtl="0" eaLnBrk="1" fontAlgn="base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Персональный кредитный рейтинг (ПКР) дает возможность посмотреть на Ваш рейтинг как заемщика со стороны потенциального кредитора</a:t>
                      </a:r>
                    </a:p>
                    <a:p>
                      <a:pPr marL="536575" marR="0" lvl="0" indent="0" algn="just" defTabSz="536575" rtl="0" eaLnBrk="1" fontAlgn="base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КР рассчитывается бюро кредитных историй с использованием математических алгоритмов, позволяющих оценить вероятность неисполнения заемщиком своих обязательств. Применяемые методы во многом аналогичны тем, которые используют кредитные организации </a:t>
                      </a:r>
                    </a:p>
                    <a:p>
                      <a:pPr marL="536575" marR="0" lvl="0" indent="0" algn="just" defTabSz="536575" rtl="0" eaLnBrk="1" fontAlgn="base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еличина рассчитанного ПКР позволит оценить, в какую группу заемщиков отнесет Вас кредитная организация (высоко рискованную или наоборот), а также возможность/вероятность получить кредитные средства</a:t>
                      </a:r>
                    </a:p>
                    <a:p>
                      <a:pPr marL="536575" marR="0" lvl="0" indent="0" algn="just" defTabSz="536575" rtl="0" eaLnBrk="1" fontAlgn="base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мимо самого значения ПКР Вы получите оценку факторов, в наибольшей степени повлиявших на Ваш рейтинг</a:t>
                      </a:r>
                    </a:p>
                    <a:p>
                      <a:pPr marL="536575" marR="0" lvl="0" indent="0" algn="just" defTabSz="536575" rtl="0" eaLnBrk="1" fontAlgn="base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леживая показатели ПКР в динамике, Вы сможете понять, насколько улучшается или ухудшается Ваша кредитная история в результате получения новых кредитов и погашения действующих</a:t>
                      </a:r>
                    </a:p>
                    <a:p>
                      <a:pPr marL="536575" marR="0" lvl="0" indent="0" algn="just" defTabSz="536575" rtl="0" eaLnBrk="1" fontAlgn="base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u="none" strike="noStrike" kern="1200" cap="none" spc="0" normalizeH="0" baseline="0" noProof="0" dirty="0" smtClean="0">
                        <a:ln>
                          <a:noFill/>
                        </a:ln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536575" marR="0" lvl="0" indent="0" algn="just" defTabSz="536575" rtl="0" eaLnBrk="1" fontAlgn="base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u="none" strike="noStrike" kern="1200" cap="none" spc="0" normalizeH="0" baseline="0" noProof="0" dirty="0" smtClean="0">
                        <a:ln>
                          <a:noFill/>
                        </a:ln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536575" marR="0" lvl="0" indent="0" algn="just" defTabSz="536575" rtl="0" eaLnBrk="1" fontAlgn="base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u="none" strike="noStrike" kern="1200" cap="none" spc="0" normalizeH="0" baseline="0" noProof="0" dirty="0" smtClean="0">
                        <a:ln>
                          <a:noFill/>
                        </a:ln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536575" marR="0" lvl="0" indent="0" algn="just" defTabSz="536575" rtl="0" eaLnBrk="1" fontAlgn="base" latinLnBrk="0" hangingPunct="1">
                        <a:lnSpc>
                          <a:spcPct val="80000"/>
                        </a:lnSpc>
                        <a:spcBef>
                          <a:spcPts val="1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4000" marR="216000" marT="108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35346310"/>
                  </a:ext>
                </a:extLst>
              </a:tr>
            </a:tbl>
          </a:graphicData>
        </a:graphic>
      </p:graphicFrame>
      <p:pic>
        <p:nvPicPr>
          <p:cNvPr id="6" name="Picture 2" descr="http://www.fin-eco.ru/wp-content/uploads/2011/06/Kreditnyj-skoring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303412"/>
            <a:ext cx="641212" cy="641212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38" y="3716267"/>
            <a:ext cx="292535" cy="29253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3E04C3C9-E530-459E-A493-88ED303A979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85976" y="5073363"/>
            <a:ext cx="280897" cy="310701"/>
          </a:xfrm>
          <a:prstGeom prst="rect">
            <a:avLst/>
          </a:prstGeom>
        </p:spPr>
      </p:pic>
      <p:pic>
        <p:nvPicPr>
          <p:cNvPr id="9" name="Picture 2" descr="Рейтинг | Бесплатно значок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50" y="1523237"/>
            <a:ext cx="450109" cy="450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99" y="5603858"/>
            <a:ext cx="349410" cy="349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216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64195" y="2412157"/>
            <a:ext cx="8533457" cy="1296144"/>
          </a:xfrm>
          <a:noFill/>
        </p:spPr>
        <p:txBody>
          <a:bodyPr>
            <a:noAutofit/>
          </a:bodyPr>
          <a:lstStyle/>
          <a:p>
            <a:r>
              <a:rPr lang="ru-RU" sz="4400" b="1" dirty="0">
                <a:solidFill>
                  <a:schemeClr val="tx2"/>
                </a:solidFill>
              </a:rPr>
              <a:t>СПАСИБО!</a:t>
            </a:r>
          </a:p>
        </p:txBody>
      </p:sp>
    </p:spTree>
    <p:extLst>
      <p:ext uri="{BB962C8B-B14F-4D97-AF65-F5344CB8AC3E}">
        <p14:creationId xmlns:p14="http://schemas.microsoft.com/office/powerpoint/2010/main" val="834935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b5gx0Gp0umFB9iGO45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blank">
  <a:themeElements>
    <a:clrScheme name="БРС">
      <a:dk1>
        <a:srgbClr val="000000"/>
      </a:dk1>
      <a:lt1>
        <a:srgbClr val="FFFFFF"/>
      </a:lt1>
      <a:dk2>
        <a:srgbClr val="800000"/>
      </a:dk2>
      <a:lt2>
        <a:srgbClr val="808080"/>
      </a:lt2>
      <a:accent1>
        <a:srgbClr val="E2E2E2"/>
      </a:accent1>
      <a:accent2>
        <a:srgbClr val="EDE4AD"/>
      </a:accent2>
      <a:accent3>
        <a:srgbClr val="FFFFFF"/>
      </a:accent3>
      <a:accent4>
        <a:srgbClr val="000000"/>
      </a:accent4>
      <a:accent5>
        <a:srgbClr val="EEEEEE"/>
      </a:accent5>
      <a:accent6>
        <a:srgbClr val="EDE4AD"/>
      </a:accent6>
      <a:hlink>
        <a:srgbClr val="800000"/>
      </a:hlink>
      <a:folHlink>
        <a:srgbClr val="F7D3A3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ysDot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2_blank">
  <a:themeElements>
    <a:clrScheme name="БРС">
      <a:dk1>
        <a:srgbClr val="000000"/>
      </a:dk1>
      <a:lt1>
        <a:srgbClr val="FFFFFF"/>
      </a:lt1>
      <a:dk2>
        <a:srgbClr val="800000"/>
      </a:dk2>
      <a:lt2>
        <a:srgbClr val="808080"/>
      </a:lt2>
      <a:accent1>
        <a:srgbClr val="E2E2E2"/>
      </a:accent1>
      <a:accent2>
        <a:srgbClr val="EDE4AD"/>
      </a:accent2>
      <a:accent3>
        <a:srgbClr val="FFFFFF"/>
      </a:accent3>
      <a:accent4>
        <a:srgbClr val="000000"/>
      </a:accent4>
      <a:accent5>
        <a:srgbClr val="EEEEEE"/>
      </a:accent5>
      <a:accent6>
        <a:srgbClr val="EDE4AD"/>
      </a:accent6>
      <a:hlink>
        <a:srgbClr val="800000"/>
      </a:hlink>
      <a:folHlink>
        <a:srgbClr val="F7D3A3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ysDot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9_blank">
  <a:themeElements>
    <a:clrScheme name="БРС">
      <a:dk1>
        <a:srgbClr val="000000"/>
      </a:dk1>
      <a:lt1>
        <a:srgbClr val="FFFFFF"/>
      </a:lt1>
      <a:dk2>
        <a:srgbClr val="800000"/>
      </a:dk2>
      <a:lt2>
        <a:srgbClr val="808080"/>
      </a:lt2>
      <a:accent1>
        <a:srgbClr val="E2E2E2"/>
      </a:accent1>
      <a:accent2>
        <a:srgbClr val="EDE4AD"/>
      </a:accent2>
      <a:accent3>
        <a:srgbClr val="FFFFFF"/>
      </a:accent3>
      <a:accent4>
        <a:srgbClr val="000000"/>
      </a:accent4>
      <a:accent5>
        <a:srgbClr val="EEEEEE"/>
      </a:accent5>
      <a:accent6>
        <a:srgbClr val="EDE4AD"/>
      </a:accent6>
      <a:hlink>
        <a:srgbClr val="800000"/>
      </a:hlink>
      <a:folHlink>
        <a:srgbClr val="F7D3A3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ysDot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8_blank">
  <a:themeElements>
    <a:clrScheme name="БРС">
      <a:dk1>
        <a:srgbClr val="000000"/>
      </a:dk1>
      <a:lt1>
        <a:srgbClr val="FFFFFF"/>
      </a:lt1>
      <a:dk2>
        <a:srgbClr val="800000"/>
      </a:dk2>
      <a:lt2>
        <a:srgbClr val="808080"/>
      </a:lt2>
      <a:accent1>
        <a:srgbClr val="E2E2E2"/>
      </a:accent1>
      <a:accent2>
        <a:srgbClr val="EDE4AD"/>
      </a:accent2>
      <a:accent3>
        <a:srgbClr val="FFFFFF"/>
      </a:accent3>
      <a:accent4>
        <a:srgbClr val="000000"/>
      </a:accent4>
      <a:accent5>
        <a:srgbClr val="EEEEEE"/>
      </a:accent5>
      <a:accent6>
        <a:srgbClr val="EDE4AD"/>
      </a:accent6>
      <a:hlink>
        <a:srgbClr val="800000"/>
      </a:hlink>
      <a:folHlink>
        <a:srgbClr val="F7D3A3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ysDot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291</TotalTime>
  <Words>544</Words>
  <Application>Microsoft Office PowerPoint</Application>
  <PresentationFormat>Произвольный</PresentationFormat>
  <Paragraphs>56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9" baseType="lpstr">
      <vt:lpstr>Arial</vt:lpstr>
      <vt:lpstr>Calibri</vt:lpstr>
      <vt:lpstr>OfficinaSansBookC</vt:lpstr>
      <vt:lpstr>Roboto Regular</vt:lpstr>
      <vt:lpstr>Times New Roman</vt:lpstr>
      <vt:lpstr>Wingdings</vt:lpstr>
      <vt:lpstr>5_blank</vt:lpstr>
      <vt:lpstr>32_blank</vt:lpstr>
      <vt:lpstr>9_blank</vt:lpstr>
      <vt:lpstr>8_blank</vt:lpstr>
      <vt:lpstr>think-cell Slide</vt:lpstr>
      <vt:lpstr>Почему важно иметь хорошую кредитную историю?</vt:lpstr>
      <vt:lpstr>Как определить хорошего заемщика?</vt:lpstr>
      <vt:lpstr>Какой информацией пользуется Банк о заемщике</vt:lpstr>
      <vt:lpstr>Что оценивает банк при принятии кредитного решения</vt:lpstr>
      <vt:lpstr>Какая информация нужна из кредитной истории</vt:lpstr>
      <vt:lpstr>Какие возможности дает хорошая кредитная история</vt:lpstr>
      <vt:lpstr>Персональный кредитный рейтинг: чем он интересен?</vt:lpstr>
      <vt:lpstr>СПАСИБО!</vt:lpstr>
    </vt:vector>
  </TitlesOfParts>
  <Company>Bank Russian Standar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ороновский С.С.</dc:creator>
  <cp:lastModifiedBy>Филипович А.В.</cp:lastModifiedBy>
  <cp:revision>2856</cp:revision>
  <cp:lastPrinted>2016-04-27T12:38:50Z</cp:lastPrinted>
  <dcterms:created xsi:type="dcterms:W3CDTF">2013-07-19T06:09:21Z</dcterms:created>
  <dcterms:modified xsi:type="dcterms:W3CDTF">2022-11-21T15:46:15Z</dcterms:modified>
</cp:coreProperties>
</file>